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09" r:id="rId1"/>
  </p:sldMasterIdLst>
  <p:notesMasterIdLst>
    <p:notesMasterId r:id="rId24"/>
  </p:notesMasterIdLst>
  <p:handoutMasterIdLst>
    <p:handoutMasterId r:id="rId25"/>
  </p:handoutMasterIdLst>
  <p:sldIdLst>
    <p:sldId id="260" r:id="rId2"/>
    <p:sldId id="259" r:id="rId3"/>
    <p:sldId id="275" r:id="rId4"/>
    <p:sldId id="263" r:id="rId5"/>
    <p:sldId id="262" r:id="rId6"/>
    <p:sldId id="268" r:id="rId7"/>
    <p:sldId id="266" r:id="rId8"/>
    <p:sldId id="279" r:id="rId9"/>
    <p:sldId id="267" r:id="rId10"/>
    <p:sldId id="280" r:id="rId11"/>
    <p:sldId id="269" r:id="rId12"/>
    <p:sldId id="264" r:id="rId13"/>
    <p:sldId id="265" r:id="rId14"/>
    <p:sldId id="281" r:id="rId15"/>
    <p:sldId id="270" r:id="rId16"/>
    <p:sldId id="282" r:id="rId17"/>
    <p:sldId id="272" r:id="rId18"/>
    <p:sldId id="285" r:id="rId19"/>
    <p:sldId id="283" r:id="rId20"/>
    <p:sldId id="278" r:id="rId21"/>
    <p:sldId id="286" r:id="rId22"/>
    <p:sldId id="287" r:id="rId23"/>
  </p:sldIdLst>
  <p:sldSz cx="10080625" cy="7561263"/>
  <p:notesSz cx="6858000" cy="9144000"/>
  <p:custDataLst>
    <p:tags r:id="rId26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20074"/>
    <a:srgbClr val="E20000"/>
    <a:srgbClr val="992C99"/>
    <a:srgbClr val="4B4B4B"/>
    <a:srgbClr val="C4C4C4"/>
    <a:srgbClr val="00FFFF"/>
    <a:srgbClr val="66FF66"/>
    <a:srgbClr val="E1E1E1"/>
    <a:srgbClr val="DEDEDE"/>
    <a:srgbClr val="6666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83" autoAdjust="0"/>
    <p:restoredTop sz="94620" autoAdjust="0"/>
  </p:normalViewPr>
  <p:slideViewPr>
    <p:cSldViewPr snapToGrid="0" snapToObjects="1">
      <p:cViewPr>
        <p:scale>
          <a:sx n="60" d="100"/>
          <a:sy n="60" d="100"/>
        </p:scale>
        <p:origin x="-2748" y="-1446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227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hyperlink" Target="mailto:rob&#233;rt.guhr@telekom.de" TargetMode="External"/><Relationship Id="rId4" Type="http://schemas.openxmlformats.org/officeDocument/2006/relationships/image" Target="../media/image17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4" Type="http://schemas.openxmlformats.org/officeDocument/2006/relationships/hyperlink" Target="mailto:rob&#233;rt.guhr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C39422C-78C5-460F-9F3A-8191EEDD212E}" type="presOf" srcId="{D14807FD-294C-4482-91EE-34C09B13669A}" destId="{BCE275B7-D1E9-4183-BABE-507E54E1C931}" srcOrd="0" destOrd="0" presId="urn:microsoft.com/office/officeart/2005/8/layout/chevron1"/>
    <dgm:cxn modelId="{9E71477D-9325-45BC-B3D8-606D48D8404F}" type="presOf" srcId="{EB61DA86-9B86-4759-822E-DA32F7AA073E}" destId="{135DB1F4-89C2-4733-9521-42FD5CECF10C}" srcOrd="0" destOrd="0" presId="urn:microsoft.com/office/officeart/2005/8/layout/chevron1"/>
    <dgm:cxn modelId="{55A14C3E-5FDE-40E8-92A6-84BEC38A4C42}" type="presOf" srcId="{07921D32-2A49-4064-8236-E2B1B13CF472}" destId="{F9B98EA2-A79E-4C06-916E-ABC9C3F9247C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01A09DD4-4742-4F40-B828-FCB46F739EC6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9967F472-2F38-4CA6-AEDB-EE30DC9CAB41}" type="presOf" srcId="{9C869D94-BD20-4CF6-9CAA-58E706B950F6}" destId="{0AECE453-CE2A-473C-BD27-70D00DA5B95C}" srcOrd="0" destOrd="0" presId="urn:microsoft.com/office/officeart/2005/8/layout/chevron1"/>
    <dgm:cxn modelId="{4571021E-90F4-48AF-9FE1-F88387EA76A4}" type="presOf" srcId="{F351D095-D2C1-4F62-A18D-EFB4BA6E2AA9}" destId="{6BF66C9A-92D4-481D-A538-FD1A4E3DC0D5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C030252D-8CB0-4759-8F09-BDD982C6F298}" type="presOf" srcId="{24CD6D97-A353-4B7A-99DF-2A36A0FDBD8D}" destId="{3A284FD7-3316-4771-9EA4-AE605C362812}" srcOrd="0" destOrd="0" presId="urn:microsoft.com/office/officeart/2005/8/layout/chevron1"/>
    <dgm:cxn modelId="{ED212A58-548A-4194-B237-F542F1D319BF}" type="presParOf" srcId="{0AECE453-CE2A-473C-BD27-70D00DA5B95C}" destId="{135DB1F4-89C2-4733-9521-42FD5CECF10C}" srcOrd="0" destOrd="0" presId="urn:microsoft.com/office/officeart/2005/8/layout/chevron1"/>
    <dgm:cxn modelId="{A5EE538D-7185-4D57-9D1E-21FD6B3796B5}" type="presParOf" srcId="{0AECE453-CE2A-473C-BD27-70D00DA5B95C}" destId="{E1C76734-9ABE-473C-AD4C-C4BF49F91E97}" srcOrd="1" destOrd="0" presId="urn:microsoft.com/office/officeart/2005/8/layout/chevron1"/>
    <dgm:cxn modelId="{ACCE561F-A598-4672-BE20-09352F8BA3B3}" type="presParOf" srcId="{0AECE453-CE2A-473C-BD27-70D00DA5B95C}" destId="{6BF66C9A-92D4-481D-A538-FD1A4E3DC0D5}" srcOrd="2" destOrd="0" presId="urn:microsoft.com/office/officeart/2005/8/layout/chevron1"/>
    <dgm:cxn modelId="{B7F124FD-6057-46C9-8F8B-BD08AE28E388}" type="presParOf" srcId="{0AECE453-CE2A-473C-BD27-70D00DA5B95C}" destId="{691CB221-7DD5-49BE-AC21-301798066F30}" srcOrd="3" destOrd="0" presId="urn:microsoft.com/office/officeart/2005/8/layout/chevron1"/>
    <dgm:cxn modelId="{47751AC3-7B0A-46B8-9197-0B1D5105A504}" type="presParOf" srcId="{0AECE453-CE2A-473C-BD27-70D00DA5B95C}" destId="{3E9602A8-0A34-4630-A972-81E39BB9FA5D}" srcOrd="4" destOrd="0" presId="urn:microsoft.com/office/officeart/2005/8/layout/chevron1"/>
    <dgm:cxn modelId="{34D87E0C-6D96-4C30-A7BD-0854EBA36E68}" type="presParOf" srcId="{0AECE453-CE2A-473C-BD27-70D00DA5B95C}" destId="{D0B9A118-173B-40DB-89B8-9F21FF5432C9}" srcOrd="5" destOrd="0" presId="urn:microsoft.com/office/officeart/2005/8/layout/chevron1"/>
    <dgm:cxn modelId="{B4A36C8D-874D-4F49-BBD1-6431CEE10BA7}" type="presParOf" srcId="{0AECE453-CE2A-473C-BD27-70D00DA5B95C}" destId="{BCE275B7-D1E9-4183-BABE-507E54E1C931}" srcOrd="6" destOrd="0" presId="urn:microsoft.com/office/officeart/2005/8/layout/chevron1"/>
    <dgm:cxn modelId="{4018B949-DAC4-43BA-85CC-F70F1B335F43}" type="presParOf" srcId="{0AECE453-CE2A-473C-BD27-70D00DA5B95C}" destId="{FF153DEA-B57F-4EDB-B3F8-C7CF6D58863D}" srcOrd="7" destOrd="0" presId="urn:microsoft.com/office/officeart/2005/8/layout/chevron1"/>
    <dgm:cxn modelId="{4173A783-1DC0-4AB6-B8AB-9754A0A1F593}" type="presParOf" srcId="{0AECE453-CE2A-473C-BD27-70D00DA5B95C}" destId="{F9B98EA2-A79E-4C06-916E-ABC9C3F9247C}" srcOrd="8" destOrd="0" presId="urn:microsoft.com/office/officeart/2005/8/layout/chevron1"/>
    <dgm:cxn modelId="{538D0B32-4F97-4034-AE39-90709333AE79}" type="presParOf" srcId="{0AECE453-CE2A-473C-BD27-70D00DA5B95C}" destId="{8FE7D483-84DD-4369-B59B-213FCAD044F5}" srcOrd="9" destOrd="0" presId="urn:microsoft.com/office/officeart/2005/8/layout/chevron1"/>
    <dgm:cxn modelId="{6AAE08E3-E064-4EFD-8F3F-5FFF1BDAA8A7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                                  IT Systemkaufmann</a:t>
          </a:r>
        </a:p>
        <a:p>
          <a:pPr algn="ctr"/>
          <a:endParaRPr lang="de-DE" sz="10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endParaRPr lang="de-DE" sz="1000" b="0" i="0" u="sng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r>
            <a:rPr lang="de-DE" sz="14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ctr"/>
          <a:r>
            <a:rPr lang="de-DE" sz="105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adriano.perri@telekom.de</a:t>
          </a:r>
        </a:p>
        <a:p>
          <a:pPr algn="l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10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4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r>
            <a:rPr lang="de-DE" sz="1200" b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chnology </a:t>
          </a:r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anager Cloud </a:t>
          </a:r>
          <a:r>
            <a:rPr lang="de-DE" sz="1200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</a:t>
          </a:r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endParaRPr lang="de-DE" sz="10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endParaRPr lang="de-DE" sz="10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r>
            <a:rPr lang="de-DE" sz="14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ctr"/>
          <a:r>
            <a:rPr lang="de-DE" sz="105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frank.kloeker@telekom.de</a:t>
          </a:r>
        </a:p>
        <a:p>
          <a:pPr algn="l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10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4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2926B0F7-CF59-42FD-B5D6-F93E9F75C1CF}">
      <dgm:prSet phldrT="[Text]" custT="1"/>
      <dgm:spPr/>
      <dgm:t>
        <a:bodyPr/>
        <a:lstStyle/>
        <a:p>
          <a:pPr algn="ctr"/>
          <a:r>
            <a: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obért S. Guhr</a:t>
          </a:r>
        </a:p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Fachinformatiker für Systemintegration</a:t>
          </a:r>
        </a:p>
        <a:p>
          <a:pPr algn="ctr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ctr"/>
          <a:r>
            <a:rPr lang="de-DE" sz="14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ctr"/>
          <a:r>
            <a:rPr lang="de-DE" sz="105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robért.guhr@telekom.de</a:t>
          </a:r>
          <a:endParaRPr lang="de-DE" sz="1050" dirty="0" smtClean="0">
            <a:latin typeface="Arial" pitchFamily="34" charset="0"/>
            <a:cs typeface="Arial" pitchFamily="34" charset="0"/>
          </a:endParaRPr>
        </a:p>
        <a:p>
          <a:pPr algn="ctr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ctr"/>
          <a:endParaRPr lang="de-DE" sz="10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4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100" b="0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2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2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200" dirty="0" smtClean="0">
            <a:latin typeface="Arial" pitchFamily="34" charset="0"/>
            <a:cs typeface="Arial" pitchFamily="34" charset="0"/>
          </a:endParaRPr>
        </a:p>
      </dgm:t>
    </dgm:pt>
    <dgm:pt modelId="{1515D136-0CDE-4F98-9F56-72A8C404D18B}" type="parTrans" cxnId="{D1AF5B12-663A-4C49-A099-FE04D5814150}">
      <dgm:prSet/>
      <dgm:spPr/>
      <dgm:t>
        <a:bodyPr/>
        <a:lstStyle/>
        <a:p>
          <a:endParaRPr lang="de-DE"/>
        </a:p>
      </dgm:t>
    </dgm:pt>
    <dgm:pt modelId="{30C6B17E-E665-41D9-BE8B-733615DFB4F0}" type="sibTrans" cxnId="{D1AF5B12-663A-4C49-A099-FE04D5814150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0" presStyleCnt="3"/>
      <dgm:spPr/>
    </dgm:pt>
    <dgm:pt modelId="{A6AC8A74-F87C-4B02-9448-DDBB12841FDC}" type="pres">
      <dgm:prSet presAssocID="{06F1E4C0-3933-48B7-B465-278FFD020B81}" presName="imagNode" presStyleLbl="fgImgPlace1" presStyleIdx="0" presStyleCnt="3" custScaleX="55049" custScaleY="10978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1" presStyleCnt="3"/>
      <dgm:spPr/>
    </dgm:pt>
    <dgm:pt modelId="{3CFA2C21-08FD-4826-88F0-EC889468C537}" type="pres">
      <dgm:prSet presAssocID="{A535AB3D-88CF-41BD-9478-1370676E8F79}" presName="imagNode" presStyleLbl="fgImgPlace1" presStyleIdx="1" presStyleCnt="3" custScaleX="62108" custScaleY="10978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8AAA60EB-9FBE-4B76-8E42-B90400E14C82}" type="pres">
      <dgm:prSet presAssocID="{622B5EFE-8DCC-4954-9C84-62ED8C6A915C}" presName="sibTrans" presStyleLbl="sibTrans2D1" presStyleIdx="0" presStyleCnt="0"/>
      <dgm:spPr/>
      <dgm:t>
        <a:bodyPr/>
        <a:lstStyle/>
        <a:p>
          <a:endParaRPr lang="de-DE"/>
        </a:p>
      </dgm:t>
    </dgm:pt>
    <dgm:pt modelId="{7A777A84-4DD8-4674-BD89-AB4447D7E737}" type="pres">
      <dgm:prSet presAssocID="{2926B0F7-CF59-42FD-B5D6-F93E9F75C1CF}" presName="compNode" presStyleCnt="0"/>
      <dgm:spPr/>
    </dgm:pt>
    <dgm:pt modelId="{E9FB1192-6944-413D-9590-F9446AB5D335}" type="pres">
      <dgm:prSet presAssocID="{2926B0F7-CF59-42FD-B5D6-F93E9F75C1CF}" presName="node" presStyleLbl="node1" presStyleIdx="2" presStyleCnt="3" custLinFactNeighborX="-1895" custLinFactNeighborY="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405FF2F-1A22-47BC-81D8-F92431991D05}" type="pres">
      <dgm:prSet presAssocID="{2926B0F7-CF59-42FD-B5D6-F93E9F75C1CF}" presName="invisiNode" presStyleLbl="node1" presStyleIdx="2" presStyleCnt="3"/>
      <dgm:spPr/>
    </dgm:pt>
    <dgm:pt modelId="{51E2C9BD-377A-4B64-AC8C-E0C29D9DA4FF}" type="pres">
      <dgm:prSet presAssocID="{2926B0F7-CF59-42FD-B5D6-F93E9F75C1CF}" presName="imagNode" presStyleLbl="fgImgPlace1" presStyleIdx="2" presStyleCnt="3" custScaleX="63563" custScaleY="109784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A5D08B5A-CF94-408A-B3CC-FAA5DC6DB2C1}" type="presOf" srcId="{6A4CEAD5-33C1-4B18-8EF3-40747A51DB1B}" destId="{10125C33-0F99-4D6A-8CE0-8E8E4B951029}" srcOrd="0" destOrd="0" presId="urn:microsoft.com/office/officeart/2005/8/layout/pList2"/>
    <dgm:cxn modelId="{026DFC36-BEFB-46C2-A9D2-9498EEA78EA9}" srcId="{57AC4395-4130-4197-B98E-5BE6C2999B44}" destId="{06F1E4C0-3933-48B7-B465-278FFD020B81}" srcOrd="0" destOrd="0" parTransId="{8EDBE0C2-E021-43D5-B72E-418FA371BD2E}" sibTransId="{6A4CEAD5-33C1-4B18-8EF3-40747A51DB1B}"/>
    <dgm:cxn modelId="{A119DA2E-2D97-4E26-A565-D03FD27959E9}" type="presOf" srcId="{57AC4395-4130-4197-B98E-5BE6C2999B44}" destId="{57ED5118-1790-45B2-817F-82A6638E60D2}" srcOrd="0" destOrd="0" presId="urn:microsoft.com/office/officeart/2005/8/layout/pList2"/>
    <dgm:cxn modelId="{D1AF5B12-663A-4C49-A099-FE04D5814150}" srcId="{57AC4395-4130-4197-B98E-5BE6C2999B44}" destId="{2926B0F7-CF59-42FD-B5D6-F93E9F75C1CF}" srcOrd="2" destOrd="0" parTransId="{1515D136-0CDE-4F98-9F56-72A8C404D18B}" sibTransId="{30C6B17E-E665-41D9-BE8B-733615DFB4F0}"/>
    <dgm:cxn modelId="{915DFFF6-60BE-4A2B-BC2E-15458E52EBF4}" type="presOf" srcId="{06F1E4C0-3933-48B7-B465-278FFD020B81}" destId="{C8B8A4A8-AC36-4440-ABC0-A80F7A3FC7A9}" srcOrd="0" destOrd="0" presId="urn:microsoft.com/office/officeart/2005/8/layout/pList2"/>
    <dgm:cxn modelId="{77D1C64C-279A-4E31-8A26-F78C4C21E17F}" type="presOf" srcId="{622B5EFE-8DCC-4954-9C84-62ED8C6A915C}" destId="{8AAA60EB-9FBE-4B76-8E42-B90400E14C82}" srcOrd="0" destOrd="0" presId="urn:microsoft.com/office/officeart/2005/8/layout/pList2"/>
    <dgm:cxn modelId="{12EBC42F-60A1-4C8B-B905-2E424C64179F}" type="presOf" srcId="{A535AB3D-88CF-41BD-9478-1370676E8F79}" destId="{F3EAAE23-5CEE-4B31-8556-F61B9D1B2B74}" srcOrd="0" destOrd="0" presId="urn:microsoft.com/office/officeart/2005/8/layout/pList2"/>
    <dgm:cxn modelId="{38EB6CB7-7764-4C73-9028-9AB6EE2F45E6}" srcId="{57AC4395-4130-4197-B98E-5BE6C2999B44}" destId="{A535AB3D-88CF-41BD-9478-1370676E8F79}" srcOrd="1" destOrd="0" parTransId="{7FE5693D-7CF3-4DE6-A1B3-D47BEA28C773}" sibTransId="{622B5EFE-8DCC-4954-9C84-62ED8C6A915C}"/>
    <dgm:cxn modelId="{597330FE-018B-4B42-B7F0-28F687419353}" type="presOf" srcId="{2926B0F7-CF59-42FD-B5D6-F93E9F75C1CF}" destId="{E9FB1192-6944-413D-9590-F9446AB5D335}" srcOrd="0" destOrd="0" presId="urn:microsoft.com/office/officeart/2005/8/layout/pList2"/>
    <dgm:cxn modelId="{6A1DA124-9609-40A0-98FC-D33D1341BB32}" type="presParOf" srcId="{57ED5118-1790-45B2-817F-82A6638E60D2}" destId="{7EBEFCAF-EAB3-44B0-8F9A-87E8C01D6452}" srcOrd="0" destOrd="0" presId="urn:microsoft.com/office/officeart/2005/8/layout/pList2"/>
    <dgm:cxn modelId="{6A28D7B5-06E6-489A-BB1B-2BAAB59E97F0}" type="presParOf" srcId="{57ED5118-1790-45B2-817F-82A6638E60D2}" destId="{53E74AF1-94FD-412C-BB5A-D4B972D2C4D7}" srcOrd="1" destOrd="0" presId="urn:microsoft.com/office/officeart/2005/8/layout/pList2"/>
    <dgm:cxn modelId="{A577492B-12DC-4172-A5B4-403302C0C274}" type="presParOf" srcId="{53E74AF1-94FD-412C-BB5A-D4B972D2C4D7}" destId="{ABBBC5E0-5AE2-4A45-9F0B-A6FB5071F795}" srcOrd="0" destOrd="0" presId="urn:microsoft.com/office/officeart/2005/8/layout/pList2"/>
    <dgm:cxn modelId="{7B646220-D200-40D0-AC01-8E16FF59752E}" type="presParOf" srcId="{ABBBC5E0-5AE2-4A45-9F0B-A6FB5071F795}" destId="{C8B8A4A8-AC36-4440-ABC0-A80F7A3FC7A9}" srcOrd="0" destOrd="0" presId="urn:microsoft.com/office/officeart/2005/8/layout/pList2"/>
    <dgm:cxn modelId="{464D6327-4663-4119-90F7-BDB23B4BE083}" type="presParOf" srcId="{ABBBC5E0-5AE2-4A45-9F0B-A6FB5071F795}" destId="{9716FF06-87E2-4961-82EE-50D39560AFCA}" srcOrd="1" destOrd="0" presId="urn:microsoft.com/office/officeart/2005/8/layout/pList2"/>
    <dgm:cxn modelId="{82C8E890-635C-445F-8B29-3EAFA47A4BC5}" type="presParOf" srcId="{ABBBC5E0-5AE2-4A45-9F0B-A6FB5071F795}" destId="{A6AC8A74-F87C-4B02-9448-DDBB12841FDC}" srcOrd="2" destOrd="0" presId="urn:microsoft.com/office/officeart/2005/8/layout/pList2"/>
    <dgm:cxn modelId="{ED74EF41-BAA6-4358-A758-A347F6171AB2}" type="presParOf" srcId="{53E74AF1-94FD-412C-BB5A-D4B972D2C4D7}" destId="{10125C33-0F99-4D6A-8CE0-8E8E4B951029}" srcOrd="1" destOrd="0" presId="urn:microsoft.com/office/officeart/2005/8/layout/pList2"/>
    <dgm:cxn modelId="{2DDBB332-5887-40DE-B605-55EEAC28875F}" type="presParOf" srcId="{53E74AF1-94FD-412C-BB5A-D4B972D2C4D7}" destId="{403CD47D-6636-491B-AF96-CADA11F2DB13}" srcOrd="2" destOrd="0" presId="urn:microsoft.com/office/officeart/2005/8/layout/pList2"/>
    <dgm:cxn modelId="{5F2907BA-73D4-4C1D-857B-CB65A2AEA4BB}" type="presParOf" srcId="{403CD47D-6636-491B-AF96-CADA11F2DB13}" destId="{F3EAAE23-5CEE-4B31-8556-F61B9D1B2B74}" srcOrd="0" destOrd="0" presId="urn:microsoft.com/office/officeart/2005/8/layout/pList2"/>
    <dgm:cxn modelId="{6D8C75DB-AB91-43AD-8D2B-61B437EFC9C6}" type="presParOf" srcId="{403CD47D-6636-491B-AF96-CADA11F2DB13}" destId="{3AB93904-F244-4777-B4DF-2E0D13BCFB74}" srcOrd="1" destOrd="0" presId="urn:microsoft.com/office/officeart/2005/8/layout/pList2"/>
    <dgm:cxn modelId="{DAE63A21-9443-4EF4-B0FE-4C7BA8171E87}" type="presParOf" srcId="{403CD47D-6636-491B-AF96-CADA11F2DB13}" destId="{3CFA2C21-08FD-4826-88F0-EC889468C537}" srcOrd="2" destOrd="0" presId="urn:microsoft.com/office/officeart/2005/8/layout/pList2"/>
    <dgm:cxn modelId="{84448E04-53A2-4993-8FC0-9B7FB31FA166}" type="presParOf" srcId="{53E74AF1-94FD-412C-BB5A-D4B972D2C4D7}" destId="{8AAA60EB-9FBE-4B76-8E42-B90400E14C82}" srcOrd="3" destOrd="0" presId="urn:microsoft.com/office/officeart/2005/8/layout/pList2"/>
    <dgm:cxn modelId="{49127CF7-CDA2-473C-BFCC-459381AB91BF}" type="presParOf" srcId="{53E74AF1-94FD-412C-BB5A-D4B972D2C4D7}" destId="{7A777A84-4DD8-4674-BD89-AB4447D7E737}" srcOrd="4" destOrd="0" presId="urn:microsoft.com/office/officeart/2005/8/layout/pList2"/>
    <dgm:cxn modelId="{8D59DE7E-0C87-4886-88E3-0B84EE44C6FF}" type="presParOf" srcId="{7A777A84-4DD8-4674-BD89-AB4447D7E737}" destId="{E9FB1192-6944-413D-9590-F9446AB5D335}" srcOrd="0" destOrd="0" presId="urn:microsoft.com/office/officeart/2005/8/layout/pList2"/>
    <dgm:cxn modelId="{30C41548-CCDF-4522-B9E9-1C5F1886EB9F}" type="presParOf" srcId="{7A777A84-4DD8-4674-BD89-AB4447D7E737}" destId="{4405FF2F-1A22-47BC-81D8-F92431991D05}" srcOrd="1" destOrd="0" presId="urn:microsoft.com/office/officeart/2005/8/layout/pList2"/>
    <dgm:cxn modelId="{CC74C053-786C-40F4-B097-673ABB8ADED1}" type="presParOf" srcId="{7A777A84-4DD8-4674-BD89-AB4447D7E737}" destId="{51E2C9BD-377A-4B64-AC8C-E0C29D9DA4FF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rgbClr val="E20074"/>
        </a:solidFill>
      </dgm:spPr>
      <dgm:t>
        <a:bodyPr/>
        <a:lstStyle/>
        <a:p>
          <a:pPr algn="ctr"/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3FDE5188-1758-4E3C-9158-A4137EF7D012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F84975A-F5A1-4B9D-A0D8-F430AA73C60C}" type="presOf" srcId="{24CD6D97-A353-4B7A-99DF-2A36A0FDBD8D}" destId="{3A284FD7-3316-4771-9EA4-AE605C362812}" srcOrd="0" destOrd="0" presId="urn:microsoft.com/office/officeart/2005/8/layout/chevron1"/>
    <dgm:cxn modelId="{770909C2-96F1-4B89-B9F5-7BAADAB20E4C}" type="presOf" srcId="{07921D32-2A49-4064-8236-E2B1B13CF472}" destId="{F9B98EA2-A79E-4C06-916E-ABC9C3F9247C}" srcOrd="0" destOrd="0" presId="urn:microsoft.com/office/officeart/2005/8/layout/chevron1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B1D5E901-20CD-4D7D-830E-145E26259226}" type="presOf" srcId="{D0C25FB2-BCD9-40F2-AD7D-9958175F77A4}" destId="{3E9602A8-0A34-4630-A972-81E39BB9FA5D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453E8E7C-BBAD-430A-AC6D-BFBCCDABE908}" type="presOf" srcId="{D14807FD-294C-4482-91EE-34C09B13669A}" destId="{BCE275B7-D1E9-4183-BABE-507E54E1C931}" srcOrd="0" destOrd="0" presId="urn:microsoft.com/office/officeart/2005/8/layout/chevron1"/>
    <dgm:cxn modelId="{05DD2BB3-5379-434A-82D4-F94E2BA34457}" type="presOf" srcId="{9C869D94-BD20-4CF6-9CAA-58E706B950F6}" destId="{0AECE453-CE2A-473C-BD27-70D00DA5B95C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DE3CA0A3-A657-4C6A-B9D4-8EABD1676C90}" type="presOf" srcId="{EB61DA86-9B86-4759-822E-DA32F7AA073E}" destId="{135DB1F4-89C2-4733-9521-42FD5CECF10C}" srcOrd="0" destOrd="0" presId="urn:microsoft.com/office/officeart/2005/8/layout/chevron1"/>
    <dgm:cxn modelId="{C5141DE7-93EB-4A59-AE5A-25C3FC9A011A}" type="presParOf" srcId="{0AECE453-CE2A-473C-BD27-70D00DA5B95C}" destId="{135DB1F4-89C2-4733-9521-42FD5CECF10C}" srcOrd="0" destOrd="0" presId="urn:microsoft.com/office/officeart/2005/8/layout/chevron1"/>
    <dgm:cxn modelId="{5DE517D4-83F0-4B94-9291-61DCD7DDBB6C}" type="presParOf" srcId="{0AECE453-CE2A-473C-BD27-70D00DA5B95C}" destId="{E1C76734-9ABE-473C-AD4C-C4BF49F91E97}" srcOrd="1" destOrd="0" presId="urn:microsoft.com/office/officeart/2005/8/layout/chevron1"/>
    <dgm:cxn modelId="{5A5B0903-87A6-4E0F-AAD7-DE98BA8756FE}" type="presParOf" srcId="{0AECE453-CE2A-473C-BD27-70D00DA5B95C}" destId="{6BF66C9A-92D4-481D-A538-FD1A4E3DC0D5}" srcOrd="2" destOrd="0" presId="urn:microsoft.com/office/officeart/2005/8/layout/chevron1"/>
    <dgm:cxn modelId="{4E93CA34-408C-467A-B36E-B361F8A8A231}" type="presParOf" srcId="{0AECE453-CE2A-473C-BD27-70D00DA5B95C}" destId="{691CB221-7DD5-49BE-AC21-301798066F30}" srcOrd="3" destOrd="0" presId="urn:microsoft.com/office/officeart/2005/8/layout/chevron1"/>
    <dgm:cxn modelId="{DC48F20B-1F68-4A78-92C3-B6FC9D84843E}" type="presParOf" srcId="{0AECE453-CE2A-473C-BD27-70D00DA5B95C}" destId="{3E9602A8-0A34-4630-A972-81E39BB9FA5D}" srcOrd="4" destOrd="0" presId="urn:microsoft.com/office/officeart/2005/8/layout/chevron1"/>
    <dgm:cxn modelId="{0F6EA75B-9E4A-49CA-8967-E8D3A12427B3}" type="presParOf" srcId="{0AECE453-CE2A-473C-BD27-70D00DA5B95C}" destId="{D0B9A118-173B-40DB-89B8-9F21FF5432C9}" srcOrd="5" destOrd="0" presId="urn:microsoft.com/office/officeart/2005/8/layout/chevron1"/>
    <dgm:cxn modelId="{93A082D0-6DBC-4680-A580-9A7F7BFA7F3B}" type="presParOf" srcId="{0AECE453-CE2A-473C-BD27-70D00DA5B95C}" destId="{BCE275B7-D1E9-4183-BABE-507E54E1C931}" srcOrd="6" destOrd="0" presId="urn:microsoft.com/office/officeart/2005/8/layout/chevron1"/>
    <dgm:cxn modelId="{51417E24-2C3F-470B-9C41-AF2516B68750}" type="presParOf" srcId="{0AECE453-CE2A-473C-BD27-70D00DA5B95C}" destId="{FF153DEA-B57F-4EDB-B3F8-C7CF6D58863D}" srcOrd="7" destOrd="0" presId="urn:microsoft.com/office/officeart/2005/8/layout/chevron1"/>
    <dgm:cxn modelId="{0FD60138-13C1-4C06-83F6-C50F6917C451}" type="presParOf" srcId="{0AECE453-CE2A-473C-BD27-70D00DA5B95C}" destId="{F9B98EA2-A79E-4C06-916E-ABC9C3F9247C}" srcOrd="8" destOrd="0" presId="urn:microsoft.com/office/officeart/2005/8/layout/chevron1"/>
    <dgm:cxn modelId="{EE1EC00C-C6BC-48C2-8368-768B01E8E9A2}" type="presParOf" srcId="{0AECE453-CE2A-473C-BD27-70D00DA5B95C}" destId="{8FE7D483-84DD-4369-B59B-213FCAD044F5}" srcOrd="9" destOrd="0" presId="urn:microsoft.com/office/officeart/2005/8/layout/chevron1"/>
    <dgm:cxn modelId="{FE383808-77C4-468C-A346-8BAD9E482060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40E03D8-1676-411E-85B9-C67B3281E4C8}" type="doc">
      <dgm:prSet loTypeId="urn:microsoft.com/office/officeart/2005/8/layout/gear1" loCatId="relationship" qsTypeId="urn:microsoft.com/office/officeart/2005/8/quickstyle/simple4" qsCatId="simple" csTypeId="urn:microsoft.com/office/officeart/2005/8/colors/accent0_3" csCatId="mainScheme" phldr="1"/>
      <dgm:spPr/>
    </dgm:pt>
    <dgm:pt modelId="{981AC4F6-369D-4E7E-BD3F-95896F1FF39E}">
      <dgm:prSet phldrT="[Text]"/>
      <dgm:spPr/>
      <dgm:t>
        <a:bodyPr/>
        <a:lstStyle/>
        <a:p>
          <a:r>
            <a:rPr lang="de-DE" dirty="0" smtClean="0"/>
            <a:t>Open Telekom Cloud</a:t>
          </a:r>
          <a:endParaRPr lang="de-DE" dirty="0"/>
        </a:p>
      </dgm:t>
    </dgm:pt>
    <dgm:pt modelId="{879792B2-BB13-43E7-A0BE-5EFED40CC27E}" type="parTrans" cxnId="{FC0E69BE-D227-43EF-A6B9-39E25B79C1F7}">
      <dgm:prSet/>
      <dgm:spPr/>
      <dgm:t>
        <a:bodyPr/>
        <a:lstStyle/>
        <a:p>
          <a:endParaRPr lang="de-DE"/>
        </a:p>
      </dgm:t>
    </dgm:pt>
    <dgm:pt modelId="{E5CC7AC1-FA7E-4DEA-A5E5-10EA5786255F}" type="sibTrans" cxnId="{FC0E69BE-D227-43EF-A6B9-39E25B79C1F7}">
      <dgm:prSet/>
      <dgm:spPr/>
      <dgm:t>
        <a:bodyPr/>
        <a:lstStyle/>
        <a:p>
          <a:endParaRPr lang="de-DE"/>
        </a:p>
      </dgm:t>
    </dgm:pt>
    <dgm:pt modelId="{0B651B82-DA4E-4645-B0E3-9EA9D5F4D7C2}">
      <dgm:prSet phldrT="[Text]"/>
      <dgm:spPr/>
      <dgm:t>
        <a:bodyPr/>
        <a:lstStyle/>
        <a:p>
          <a:r>
            <a:rPr lang="de-DE" dirty="0" smtClean="0"/>
            <a:t>WordPress</a:t>
          </a:r>
          <a:endParaRPr lang="de-DE" dirty="0"/>
        </a:p>
      </dgm:t>
    </dgm:pt>
    <dgm:pt modelId="{60092990-1A5B-4726-8F54-A701C14F9E20}" type="parTrans" cxnId="{7ECC1472-E381-4300-8CEC-D491E00E18C0}">
      <dgm:prSet/>
      <dgm:spPr/>
      <dgm:t>
        <a:bodyPr/>
        <a:lstStyle/>
        <a:p>
          <a:endParaRPr lang="de-DE"/>
        </a:p>
      </dgm:t>
    </dgm:pt>
    <dgm:pt modelId="{FD432A9B-91BD-4C5E-A7BB-C2FB83F7B4A4}" type="sibTrans" cxnId="{7ECC1472-E381-4300-8CEC-D491E00E18C0}">
      <dgm:prSet/>
      <dgm:spPr/>
      <dgm:t>
        <a:bodyPr/>
        <a:lstStyle/>
        <a:p>
          <a:endParaRPr lang="de-DE"/>
        </a:p>
      </dgm:t>
    </dgm:pt>
    <dgm:pt modelId="{E84261B7-A8A2-4AC4-B59A-E87577BAF5C3}">
      <dgm:prSet phldrT="[Text]"/>
      <dgm:spPr/>
      <dgm:t>
        <a:bodyPr/>
        <a:lstStyle/>
        <a:p>
          <a:r>
            <a:rPr lang="de-DE" dirty="0" smtClean="0"/>
            <a:t>Bitnami</a:t>
          </a:r>
          <a:endParaRPr lang="de-DE" dirty="0"/>
        </a:p>
      </dgm:t>
    </dgm:pt>
    <dgm:pt modelId="{6ABAF43D-CBA3-4232-837B-66077DE65323}" type="parTrans" cxnId="{CEC71490-CCA3-47AF-8931-B4030B92CABB}">
      <dgm:prSet/>
      <dgm:spPr/>
      <dgm:t>
        <a:bodyPr/>
        <a:lstStyle/>
        <a:p>
          <a:endParaRPr lang="de-DE"/>
        </a:p>
      </dgm:t>
    </dgm:pt>
    <dgm:pt modelId="{72DC1838-0461-4FBF-A35D-1808F254ECE6}" type="sibTrans" cxnId="{CEC71490-CCA3-47AF-8931-B4030B92CABB}">
      <dgm:prSet/>
      <dgm:spPr/>
      <dgm:t>
        <a:bodyPr/>
        <a:lstStyle/>
        <a:p>
          <a:endParaRPr lang="de-DE"/>
        </a:p>
      </dgm:t>
    </dgm:pt>
    <dgm:pt modelId="{20C65CD3-348F-4F1E-89DB-C4B8848D2FE9}" type="pres">
      <dgm:prSet presAssocID="{440E03D8-1676-411E-85B9-C67B3281E4C8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0769606-16A9-4D67-9CF6-96224AED6460}" type="pres">
      <dgm:prSet presAssocID="{981AC4F6-369D-4E7E-BD3F-95896F1FF39E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6BC73B-C148-464B-9FCD-15361780B8A2}" type="pres">
      <dgm:prSet presAssocID="{981AC4F6-369D-4E7E-BD3F-95896F1FF39E}" presName="gear1srcNode" presStyleLbl="node1" presStyleIdx="0" presStyleCnt="3"/>
      <dgm:spPr/>
      <dgm:t>
        <a:bodyPr/>
        <a:lstStyle/>
        <a:p>
          <a:endParaRPr lang="de-DE"/>
        </a:p>
      </dgm:t>
    </dgm:pt>
    <dgm:pt modelId="{D5129CA1-C3B8-4798-91B5-D09C7253A122}" type="pres">
      <dgm:prSet presAssocID="{981AC4F6-369D-4E7E-BD3F-95896F1FF39E}" presName="gear1dstNode" presStyleLbl="node1" presStyleIdx="0" presStyleCnt="3"/>
      <dgm:spPr/>
      <dgm:t>
        <a:bodyPr/>
        <a:lstStyle/>
        <a:p>
          <a:endParaRPr lang="de-DE"/>
        </a:p>
      </dgm:t>
    </dgm:pt>
    <dgm:pt modelId="{6129B1DA-3EAA-46EB-BDEB-BEAAF144AB43}" type="pres">
      <dgm:prSet presAssocID="{0B651B82-DA4E-4645-B0E3-9EA9D5F4D7C2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3E94C5-C907-4992-89D3-98A8BE033869}" type="pres">
      <dgm:prSet presAssocID="{0B651B82-DA4E-4645-B0E3-9EA9D5F4D7C2}" presName="gear2srcNode" presStyleLbl="node1" presStyleIdx="1" presStyleCnt="3"/>
      <dgm:spPr/>
      <dgm:t>
        <a:bodyPr/>
        <a:lstStyle/>
        <a:p>
          <a:endParaRPr lang="de-DE"/>
        </a:p>
      </dgm:t>
    </dgm:pt>
    <dgm:pt modelId="{01BC160C-DD65-4E09-ACC1-8DBA2EB4A351}" type="pres">
      <dgm:prSet presAssocID="{0B651B82-DA4E-4645-B0E3-9EA9D5F4D7C2}" presName="gear2dstNode" presStyleLbl="node1" presStyleIdx="1" presStyleCnt="3"/>
      <dgm:spPr/>
      <dgm:t>
        <a:bodyPr/>
        <a:lstStyle/>
        <a:p>
          <a:endParaRPr lang="de-DE"/>
        </a:p>
      </dgm:t>
    </dgm:pt>
    <dgm:pt modelId="{A4DFAFAF-96A6-4728-BE8F-6B3093242707}" type="pres">
      <dgm:prSet presAssocID="{E84261B7-A8A2-4AC4-B59A-E87577BAF5C3}" presName="gear3" presStyleLbl="node1" presStyleIdx="2" presStyleCnt="3"/>
      <dgm:spPr/>
      <dgm:t>
        <a:bodyPr/>
        <a:lstStyle/>
        <a:p>
          <a:endParaRPr lang="de-DE"/>
        </a:p>
      </dgm:t>
    </dgm:pt>
    <dgm:pt modelId="{5FB4475C-A676-4C99-ADE6-528050E4E5A9}" type="pres">
      <dgm:prSet presAssocID="{E84261B7-A8A2-4AC4-B59A-E87577BAF5C3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A1E5F10-E2BE-47D9-A9BF-0276D56CFEFA}" type="pres">
      <dgm:prSet presAssocID="{E84261B7-A8A2-4AC4-B59A-E87577BAF5C3}" presName="gear3srcNode" presStyleLbl="node1" presStyleIdx="2" presStyleCnt="3"/>
      <dgm:spPr/>
      <dgm:t>
        <a:bodyPr/>
        <a:lstStyle/>
        <a:p>
          <a:endParaRPr lang="de-DE"/>
        </a:p>
      </dgm:t>
    </dgm:pt>
    <dgm:pt modelId="{C2FD9760-AFC1-41B5-806E-4187A2B3AADF}" type="pres">
      <dgm:prSet presAssocID="{E84261B7-A8A2-4AC4-B59A-E87577BAF5C3}" presName="gear3dstNode" presStyleLbl="node1" presStyleIdx="2" presStyleCnt="3"/>
      <dgm:spPr/>
      <dgm:t>
        <a:bodyPr/>
        <a:lstStyle/>
        <a:p>
          <a:endParaRPr lang="de-DE"/>
        </a:p>
      </dgm:t>
    </dgm:pt>
    <dgm:pt modelId="{6061EA6F-DAE3-447F-9BCE-2DE66AB86F85}" type="pres">
      <dgm:prSet presAssocID="{E5CC7AC1-FA7E-4DEA-A5E5-10EA5786255F}" presName="connector1" presStyleLbl="sibTrans2D1" presStyleIdx="0" presStyleCnt="3"/>
      <dgm:spPr/>
      <dgm:t>
        <a:bodyPr/>
        <a:lstStyle/>
        <a:p>
          <a:endParaRPr lang="de-DE"/>
        </a:p>
      </dgm:t>
    </dgm:pt>
    <dgm:pt modelId="{A98831E2-BF64-4CE9-BF27-5E0CD9F438F0}" type="pres">
      <dgm:prSet presAssocID="{FD432A9B-91BD-4C5E-A7BB-C2FB83F7B4A4}" presName="connector2" presStyleLbl="sibTrans2D1" presStyleIdx="1" presStyleCnt="3"/>
      <dgm:spPr/>
      <dgm:t>
        <a:bodyPr/>
        <a:lstStyle/>
        <a:p>
          <a:endParaRPr lang="de-DE"/>
        </a:p>
      </dgm:t>
    </dgm:pt>
    <dgm:pt modelId="{0ED28953-75B3-4636-B3DC-7822EAC9D1D5}" type="pres">
      <dgm:prSet presAssocID="{72DC1838-0461-4FBF-A35D-1808F254ECE6}" presName="connector3" presStyleLbl="sibTrans2D1" presStyleIdx="2" presStyleCnt="3"/>
      <dgm:spPr/>
      <dgm:t>
        <a:bodyPr/>
        <a:lstStyle/>
        <a:p>
          <a:endParaRPr lang="de-DE"/>
        </a:p>
      </dgm:t>
    </dgm:pt>
  </dgm:ptLst>
  <dgm:cxnLst>
    <dgm:cxn modelId="{74F1BB0F-081A-4A43-80C5-2CC27394045E}" type="presOf" srcId="{981AC4F6-369D-4E7E-BD3F-95896F1FF39E}" destId="{30769606-16A9-4D67-9CF6-96224AED6460}" srcOrd="0" destOrd="0" presId="urn:microsoft.com/office/officeart/2005/8/layout/gear1"/>
    <dgm:cxn modelId="{3AC628EC-BBCF-4E12-82A2-94CC87EF3ADB}" type="presOf" srcId="{981AC4F6-369D-4E7E-BD3F-95896F1FF39E}" destId="{D5129CA1-C3B8-4798-91B5-D09C7253A122}" srcOrd="2" destOrd="0" presId="urn:microsoft.com/office/officeart/2005/8/layout/gear1"/>
    <dgm:cxn modelId="{CEC71490-CCA3-47AF-8931-B4030B92CABB}" srcId="{440E03D8-1676-411E-85B9-C67B3281E4C8}" destId="{E84261B7-A8A2-4AC4-B59A-E87577BAF5C3}" srcOrd="2" destOrd="0" parTransId="{6ABAF43D-CBA3-4232-837B-66077DE65323}" sibTransId="{72DC1838-0461-4FBF-A35D-1808F254ECE6}"/>
    <dgm:cxn modelId="{07B406A6-C863-4161-A2C4-40A64A67EA98}" type="presOf" srcId="{E5CC7AC1-FA7E-4DEA-A5E5-10EA5786255F}" destId="{6061EA6F-DAE3-447F-9BCE-2DE66AB86F85}" srcOrd="0" destOrd="0" presId="urn:microsoft.com/office/officeart/2005/8/layout/gear1"/>
    <dgm:cxn modelId="{229A6C7F-3555-4101-8D88-251AA78AEDF5}" type="presOf" srcId="{981AC4F6-369D-4E7E-BD3F-95896F1FF39E}" destId="{986BC73B-C148-464B-9FCD-15361780B8A2}" srcOrd="1" destOrd="0" presId="urn:microsoft.com/office/officeart/2005/8/layout/gear1"/>
    <dgm:cxn modelId="{6E66F7DC-2C7F-4971-909F-67A7AA127328}" type="presOf" srcId="{E84261B7-A8A2-4AC4-B59A-E87577BAF5C3}" destId="{C2FD9760-AFC1-41B5-806E-4187A2B3AADF}" srcOrd="3" destOrd="0" presId="urn:microsoft.com/office/officeart/2005/8/layout/gear1"/>
    <dgm:cxn modelId="{7ECC1472-E381-4300-8CEC-D491E00E18C0}" srcId="{440E03D8-1676-411E-85B9-C67B3281E4C8}" destId="{0B651B82-DA4E-4645-B0E3-9EA9D5F4D7C2}" srcOrd="1" destOrd="0" parTransId="{60092990-1A5B-4726-8F54-A701C14F9E20}" sibTransId="{FD432A9B-91BD-4C5E-A7BB-C2FB83F7B4A4}"/>
    <dgm:cxn modelId="{B7B66700-AA87-4A17-81A4-0FCD80CA6986}" type="presOf" srcId="{FD432A9B-91BD-4C5E-A7BB-C2FB83F7B4A4}" destId="{A98831E2-BF64-4CE9-BF27-5E0CD9F438F0}" srcOrd="0" destOrd="0" presId="urn:microsoft.com/office/officeart/2005/8/layout/gear1"/>
    <dgm:cxn modelId="{0AC9E77A-0C64-4BA0-A068-5D78416329C5}" type="presOf" srcId="{0B651B82-DA4E-4645-B0E3-9EA9D5F4D7C2}" destId="{01BC160C-DD65-4E09-ACC1-8DBA2EB4A351}" srcOrd="2" destOrd="0" presId="urn:microsoft.com/office/officeart/2005/8/layout/gear1"/>
    <dgm:cxn modelId="{A36DFD62-FEA5-4999-9483-6FDEB73A3208}" type="presOf" srcId="{0B651B82-DA4E-4645-B0E3-9EA9D5F4D7C2}" destId="{6129B1DA-3EAA-46EB-BDEB-BEAAF144AB43}" srcOrd="0" destOrd="0" presId="urn:microsoft.com/office/officeart/2005/8/layout/gear1"/>
    <dgm:cxn modelId="{F2D02EBC-1FBC-41CD-84B4-941D741346B0}" type="presOf" srcId="{0B651B82-DA4E-4645-B0E3-9EA9D5F4D7C2}" destId="{133E94C5-C907-4992-89D3-98A8BE033869}" srcOrd="1" destOrd="0" presId="urn:microsoft.com/office/officeart/2005/8/layout/gear1"/>
    <dgm:cxn modelId="{6BF912AA-3E26-4FA4-96A3-51801805B6F6}" type="presOf" srcId="{E84261B7-A8A2-4AC4-B59A-E87577BAF5C3}" destId="{5FB4475C-A676-4C99-ADE6-528050E4E5A9}" srcOrd="1" destOrd="0" presId="urn:microsoft.com/office/officeart/2005/8/layout/gear1"/>
    <dgm:cxn modelId="{41031BDE-6946-4373-816B-1D50439A26AA}" type="presOf" srcId="{440E03D8-1676-411E-85B9-C67B3281E4C8}" destId="{20C65CD3-348F-4F1E-89DB-C4B8848D2FE9}" srcOrd="0" destOrd="0" presId="urn:microsoft.com/office/officeart/2005/8/layout/gear1"/>
    <dgm:cxn modelId="{FC0E69BE-D227-43EF-A6B9-39E25B79C1F7}" srcId="{440E03D8-1676-411E-85B9-C67B3281E4C8}" destId="{981AC4F6-369D-4E7E-BD3F-95896F1FF39E}" srcOrd="0" destOrd="0" parTransId="{879792B2-BB13-43E7-A0BE-5EFED40CC27E}" sibTransId="{E5CC7AC1-FA7E-4DEA-A5E5-10EA5786255F}"/>
    <dgm:cxn modelId="{01C4C490-4865-4E4B-980C-BA30914085C4}" type="presOf" srcId="{E84261B7-A8A2-4AC4-B59A-E87577BAF5C3}" destId="{A4DFAFAF-96A6-4728-BE8F-6B3093242707}" srcOrd="0" destOrd="0" presId="urn:microsoft.com/office/officeart/2005/8/layout/gear1"/>
    <dgm:cxn modelId="{DB2B4543-7539-44BF-AE14-00C33836D723}" type="presOf" srcId="{E84261B7-A8A2-4AC4-B59A-E87577BAF5C3}" destId="{0A1E5F10-E2BE-47D9-A9BF-0276D56CFEFA}" srcOrd="2" destOrd="0" presId="urn:microsoft.com/office/officeart/2005/8/layout/gear1"/>
    <dgm:cxn modelId="{A677A51D-DEB0-4DFC-A089-B7C4DE37270F}" type="presOf" srcId="{72DC1838-0461-4FBF-A35D-1808F254ECE6}" destId="{0ED28953-75B3-4636-B3DC-7822EAC9D1D5}" srcOrd="0" destOrd="0" presId="urn:microsoft.com/office/officeart/2005/8/layout/gear1"/>
    <dgm:cxn modelId="{21E29CAA-E6E1-410E-B695-9F2105529319}" type="presParOf" srcId="{20C65CD3-348F-4F1E-89DB-C4B8848D2FE9}" destId="{30769606-16A9-4D67-9CF6-96224AED6460}" srcOrd="0" destOrd="0" presId="urn:microsoft.com/office/officeart/2005/8/layout/gear1"/>
    <dgm:cxn modelId="{B81381FC-E673-4AFC-AE14-D7972D35D554}" type="presParOf" srcId="{20C65CD3-348F-4F1E-89DB-C4B8848D2FE9}" destId="{986BC73B-C148-464B-9FCD-15361780B8A2}" srcOrd="1" destOrd="0" presId="urn:microsoft.com/office/officeart/2005/8/layout/gear1"/>
    <dgm:cxn modelId="{E4F056A6-189C-4819-B90B-6C91D4921ABC}" type="presParOf" srcId="{20C65CD3-348F-4F1E-89DB-C4B8848D2FE9}" destId="{D5129CA1-C3B8-4798-91B5-D09C7253A122}" srcOrd="2" destOrd="0" presId="urn:microsoft.com/office/officeart/2005/8/layout/gear1"/>
    <dgm:cxn modelId="{241BDB51-02F5-4573-A618-7334CBD98858}" type="presParOf" srcId="{20C65CD3-348F-4F1E-89DB-C4B8848D2FE9}" destId="{6129B1DA-3EAA-46EB-BDEB-BEAAF144AB43}" srcOrd="3" destOrd="0" presId="urn:microsoft.com/office/officeart/2005/8/layout/gear1"/>
    <dgm:cxn modelId="{72F6D2F7-00AB-46AA-86EF-DA1B6DF8B9CD}" type="presParOf" srcId="{20C65CD3-348F-4F1E-89DB-C4B8848D2FE9}" destId="{133E94C5-C907-4992-89D3-98A8BE033869}" srcOrd="4" destOrd="0" presId="urn:microsoft.com/office/officeart/2005/8/layout/gear1"/>
    <dgm:cxn modelId="{0D66F854-2078-4EA8-B4B7-E18FC1F93D84}" type="presParOf" srcId="{20C65CD3-348F-4F1E-89DB-C4B8848D2FE9}" destId="{01BC160C-DD65-4E09-ACC1-8DBA2EB4A351}" srcOrd="5" destOrd="0" presId="urn:microsoft.com/office/officeart/2005/8/layout/gear1"/>
    <dgm:cxn modelId="{A6783F00-A23E-4B86-94CC-107C5E258559}" type="presParOf" srcId="{20C65CD3-348F-4F1E-89DB-C4B8848D2FE9}" destId="{A4DFAFAF-96A6-4728-BE8F-6B3093242707}" srcOrd="6" destOrd="0" presId="urn:microsoft.com/office/officeart/2005/8/layout/gear1"/>
    <dgm:cxn modelId="{A532A3FE-3C94-4644-8C15-B57828FC6836}" type="presParOf" srcId="{20C65CD3-348F-4F1E-89DB-C4B8848D2FE9}" destId="{5FB4475C-A676-4C99-ADE6-528050E4E5A9}" srcOrd="7" destOrd="0" presId="urn:microsoft.com/office/officeart/2005/8/layout/gear1"/>
    <dgm:cxn modelId="{2F2B2CAB-92D7-4583-8C8F-846DE1B869B3}" type="presParOf" srcId="{20C65CD3-348F-4F1E-89DB-C4B8848D2FE9}" destId="{0A1E5F10-E2BE-47D9-A9BF-0276D56CFEFA}" srcOrd="8" destOrd="0" presId="urn:microsoft.com/office/officeart/2005/8/layout/gear1"/>
    <dgm:cxn modelId="{4E292146-31F9-4F8E-92D7-34B3FCFDA2E7}" type="presParOf" srcId="{20C65CD3-348F-4F1E-89DB-C4B8848D2FE9}" destId="{C2FD9760-AFC1-41B5-806E-4187A2B3AADF}" srcOrd="9" destOrd="0" presId="urn:microsoft.com/office/officeart/2005/8/layout/gear1"/>
    <dgm:cxn modelId="{14A7FAE4-EAAC-4089-9821-DB3E5E102337}" type="presParOf" srcId="{20C65CD3-348F-4F1E-89DB-C4B8848D2FE9}" destId="{6061EA6F-DAE3-447F-9BCE-2DE66AB86F85}" srcOrd="10" destOrd="0" presId="urn:microsoft.com/office/officeart/2005/8/layout/gear1"/>
    <dgm:cxn modelId="{C9A782ED-CC03-459D-8960-6FCCB04866D4}" type="presParOf" srcId="{20C65CD3-348F-4F1E-89DB-C4B8848D2FE9}" destId="{A98831E2-BF64-4CE9-BF27-5E0CD9F438F0}" srcOrd="11" destOrd="0" presId="urn:microsoft.com/office/officeart/2005/8/layout/gear1"/>
    <dgm:cxn modelId="{BA0E2102-BBCB-4E22-8184-7DFF06109A5F}" type="presParOf" srcId="{20C65CD3-348F-4F1E-89DB-C4B8848D2FE9}" destId="{0ED28953-75B3-4636-B3DC-7822EAC9D1D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rgbClr val="E20074"/>
        </a:solidFill>
      </dgm:spPr>
      <dgm:t>
        <a:bodyPr/>
        <a:lstStyle/>
        <a:p>
          <a:pPr algn="ctr"/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736C264-BFBC-45ED-8F6C-B250B9F8FB6A}" type="presOf" srcId="{24CD6D97-A353-4B7A-99DF-2A36A0FDBD8D}" destId="{3A284FD7-3316-4771-9EA4-AE605C362812}" srcOrd="0" destOrd="0" presId="urn:microsoft.com/office/officeart/2005/8/layout/chevron1"/>
    <dgm:cxn modelId="{1B71A17D-5A10-453B-8F84-8AAB4F24B1DD}" type="presOf" srcId="{07921D32-2A49-4064-8236-E2B1B13CF472}" destId="{F9B98EA2-A79E-4C06-916E-ABC9C3F9247C}" srcOrd="0" destOrd="0" presId="urn:microsoft.com/office/officeart/2005/8/layout/chevron1"/>
    <dgm:cxn modelId="{816B87DB-2E87-4391-B9E5-FA9CCE8B8597}" type="presOf" srcId="{F351D095-D2C1-4F62-A18D-EFB4BA6E2AA9}" destId="{6BF66C9A-92D4-481D-A538-FD1A4E3DC0D5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EEBA28A8-30A2-47F2-A77A-489B9C357BA7}" type="presOf" srcId="{D0C25FB2-BCD9-40F2-AD7D-9958175F77A4}" destId="{3E9602A8-0A34-4630-A972-81E39BB9FA5D}" srcOrd="0" destOrd="0" presId="urn:microsoft.com/office/officeart/2005/8/layout/chevron1"/>
    <dgm:cxn modelId="{55997D13-D58F-436D-B075-D3919433C089}" type="presOf" srcId="{9C869D94-BD20-4CF6-9CAA-58E706B950F6}" destId="{0AECE453-CE2A-473C-BD27-70D00DA5B95C}" srcOrd="0" destOrd="0" presId="urn:microsoft.com/office/officeart/2005/8/layout/chevron1"/>
    <dgm:cxn modelId="{91DF8E9D-798B-4F3A-B7A2-25EC3FCFACAF}" type="presOf" srcId="{EB61DA86-9B86-4759-822E-DA32F7AA073E}" destId="{135DB1F4-89C2-4733-9521-42FD5CECF10C}" srcOrd="0" destOrd="0" presId="urn:microsoft.com/office/officeart/2005/8/layout/chevron1"/>
    <dgm:cxn modelId="{F8C91940-5C0D-412D-B743-4770E99A05A4}" type="presOf" srcId="{D14807FD-294C-4482-91EE-34C09B13669A}" destId="{BCE275B7-D1E9-4183-BABE-507E54E1C931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61D2CE83-2150-4C25-BF66-C7E7DCA57F79}" type="presParOf" srcId="{0AECE453-CE2A-473C-BD27-70D00DA5B95C}" destId="{135DB1F4-89C2-4733-9521-42FD5CECF10C}" srcOrd="0" destOrd="0" presId="urn:microsoft.com/office/officeart/2005/8/layout/chevron1"/>
    <dgm:cxn modelId="{80154BA7-0D78-44F1-8F32-61B17D638E46}" type="presParOf" srcId="{0AECE453-CE2A-473C-BD27-70D00DA5B95C}" destId="{E1C76734-9ABE-473C-AD4C-C4BF49F91E97}" srcOrd="1" destOrd="0" presId="urn:microsoft.com/office/officeart/2005/8/layout/chevron1"/>
    <dgm:cxn modelId="{6C7BE5C8-48F0-4BEF-A11B-B0CEAACAC457}" type="presParOf" srcId="{0AECE453-CE2A-473C-BD27-70D00DA5B95C}" destId="{6BF66C9A-92D4-481D-A538-FD1A4E3DC0D5}" srcOrd="2" destOrd="0" presId="urn:microsoft.com/office/officeart/2005/8/layout/chevron1"/>
    <dgm:cxn modelId="{167B3939-D501-45F7-A869-8FB819DEDC98}" type="presParOf" srcId="{0AECE453-CE2A-473C-BD27-70D00DA5B95C}" destId="{691CB221-7DD5-49BE-AC21-301798066F30}" srcOrd="3" destOrd="0" presId="urn:microsoft.com/office/officeart/2005/8/layout/chevron1"/>
    <dgm:cxn modelId="{6E84B2D3-A93B-42AE-BB5C-D4277A6179EE}" type="presParOf" srcId="{0AECE453-CE2A-473C-BD27-70D00DA5B95C}" destId="{3E9602A8-0A34-4630-A972-81E39BB9FA5D}" srcOrd="4" destOrd="0" presId="urn:microsoft.com/office/officeart/2005/8/layout/chevron1"/>
    <dgm:cxn modelId="{349DAE09-5F9F-421C-A76A-A890EB7729AF}" type="presParOf" srcId="{0AECE453-CE2A-473C-BD27-70D00DA5B95C}" destId="{D0B9A118-173B-40DB-89B8-9F21FF5432C9}" srcOrd="5" destOrd="0" presId="urn:microsoft.com/office/officeart/2005/8/layout/chevron1"/>
    <dgm:cxn modelId="{4102BE89-6D10-4150-96A1-2F91A8B8CAF7}" type="presParOf" srcId="{0AECE453-CE2A-473C-BD27-70D00DA5B95C}" destId="{BCE275B7-D1E9-4183-BABE-507E54E1C931}" srcOrd="6" destOrd="0" presId="urn:microsoft.com/office/officeart/2005/8/layout/chevron1"/>
    <dgm:cxn modelId="{2E69E954-2C58-46B7-80A8-38EA95FB26B6}" type="presParOf" srcId="{0AECE453-CE2A-473C-BD27-70D00DA5B95C}" destId="{FF153DEA-B57F-4EDB-B3F8-C7CF6D58863D}" srcOrd="7" destOrd="0" presId="urn:microsoft.com/office/officeart/2005/8/layout/chevron1"/>
    <dgm:cxn modelId="{C1D64351-47EC-437E-9605-ADEF9920E788}" type="presParOf" srcId="{0AECE453-CE2A-473C-BD27-70D00DA5B95C}" destId="{F9B98EA2-A79E-4C06-916E-ABC9C3F9247C}" srcOrd="8" destOrd="0" presId="urn:microsoft.com/office/officeart/2005/8/layout/chevron1"/>
    <dgm:cxn modelId="{EC5196E1-B545-40F5-B02A-AE3196CB42C6}" type="presParOf" srcId="{0AECE453-CE2A-473C-BD27-70D00DA5B95C}" destId="{8FE7D483-84DD-4369-B59B-213FCAD044F5}" srcOrd="9" destOrd="0" presId="urn:microsoft.com/office/officeart/2005/8/layout/chevron1"/>
    <dgm:cxn modelId="{6DD4933D-2B7C-4AEA-98E5-8114A9C3A381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A899B39-438B-415F-93A5-0244442D0899}" type="presOf" srcId="{24CD6D97-A353-4B7A-99DF-2A36A0FDBD8D}" destId="{3A284FD7-3316-4771-9EA4-AE605C362812}" srcOrd="0" destOrd="0" presId="urn:microsoft.com/office/officeart/2005/8/layout/chevron1"/>
    <dgm:cxn modelId="{8BE5C5C7-059A-4E9F-B5A0-BAD6ED1C8E07}" type="presOf" srcId="{F351D095-D2C1-4F62-A18D-EFB4BA6E2AA9}" destId="{6BF66C9A-92D4-481D-A538-FD1A4E3DC0D5}" srcOrd="0" destOrd="0" presId="urn:microsoft.com/office/officeart/2005/8/layout/chevron1"/>
    <dgm:cxn modelId="{DB295E9B-9D83-49BC-AFB1-6127B845EFB4}" type="presOf" srcId="{EB61DA86-9B86-4759-822E-DA32F7AA073E}" destId="{135DB1F4-89C2-4733-9521-42FD5CECF10C}" srcOrd="0" destOrd="0" presId="urn:microsoft.com/office/officeart/2005/8/layout/chevron1"/>
    <dgm:cxn modelId="{BAB90517-2309-484A-938E-EAA443B9E43C}" type="presOf" srcId="{D14807FD-294C-4482-91EE-34C09B13669A}" destId="{BCE275B7-D1E9-4183-BABE-507E54E1C931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3406E956-E7FF-46A1-BE70-3228EA90A778}" type="presOf" srcId="{07921D32-2A49-4064-8236-E2B1B13CF472}" destId="{F9B98EA2-A79E-4C06-916E-ABC9C3F9247C}" srcOrd="0" destOrd="0" presId="urn:microsoft.com/office/officeart/2005/8/layout/chevron1"/>
    <dgm:cxn modelId="{3A29F5C2-1CCB-4380-B54F-00A45C8C158C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6D23DE5C-5EEB-4AE0-A59D-A4F7E1E2F1F0}" type="presOf" srcId="{D0C25FB2-BCD9-40F2-AD7D-9958175F77A4}" destId="{3E9602A8-0A34-4630-A972-81E39BB9FA5D}" srcOrd="0" destOrd="0" presId="urn:microsoft.com/office/officeart/2005/8/layout/chevron1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2492C9F2-527F-4451-A39D-FCE17266AA2F}" type="presParOf" srcId="{0AECE453-CE2A-473C-BD27-70D00DA5B95C}" destId="{135DB1F4-89C2-4733-9521-42FD5CECF10C}" srcOrd="0" destOrd="0" presId="urn:microsoft.com/office/officeart/2005/8/layout/chevron1"/>
    <dgm:cxn modelId="{09C97483-2436-4FA8-B3CF-252D6B958BB1}" type="presParOf" srcId="{0AECE453-CE2A-473C-BD27-70D00DA5B95C}" destId="{E1C76734-9ABE-473C-AD4C-C4BF49F91E97}" srcOrd="1" destOrd="0" presId="urn:microsoft.com/office/officeart/2005/8/layout/chevron1"/>
    <dgm:cxn modelId="{E02BF33E-6404-4FC8-8FB5-7BA844507A28}" type="presParOf" srcId="{0AECE453-CE2A-473C-BD27-70D00DA5B95C}" destId="{6BF66C9A-92D4-481D-A538-FD1A4E3DC0D5}" srcOrd="2" destOrd="0" presId="urn:microsoft.com/office/officeart/2005/8/layout/chevron1"/>
    <dgm:cxn modelId="{F7B10A4D-DC82-475F-A630-B8A9A95901D2}" type="presParOf" srcId="{0AECE453-CE2A-473C-BD27-70D00DA5B95C}" destId="{691CB221-7DD5-49BE-AC21-301798066F30}" srcOrd="3" destOrd="0" presId="urn:microsoft.com/office/officeart/2005/8/layout/chevron1"/>
    <dgm:cxn modelId="{59632781-3C16-440E-90BC-15C44942405C}" type="presParOf" srcId="{0AECE453-CE2A-473C-BD27-70D00DA5B95C}" destId="{3E9602A8-0A34-4630-A972-81E39BB9FA5D}" srcOrd="4" destOrd="0" presId="urn:microsoft.com/office/officeart/2005/8/layout/chevron1"/>
    <dgm:cxn modelId="{2CC24AE7-B3F9-4BFE-ABAD-7810CC87261E}" type="presParOf" srcId="{0AECE453-CE2A-473C-BD27-70D00DA5B95C}" destId="{D0B9A118-173B-40DB-89B8-9F21FF5432C9}" srcOrd="5" destOrd="0" presId="urn:microsoft.com/office/officeart/2005/8/layout/chevron1"/>
    <dgm:cxn modelId="{0A8E248A-45BB-48E9-8263-3E2EC1C74EDE}" type="presParOf" srcId="{0AECE453-CE2A-473C-BD27-70D00DA5B95C}" destId="{BCE275B7-D1E9-4183-BABE-507E54E1C931}" srcOrd="6" destOrd="0" presId="urn:microsoft.com/office/officeart/2005/8/layout/chevron1"/>
    <dgm:cxn modelId="{EEDE68C1-2EFF-4251-A0BD-1A056C7C47CA}" type="presParOf" srcId="{0AECE453-CE2A-473C-BD27-70D00DA5B95C}" destId="{FF153DEA-B57F-4EDB-B3F8-C7CF6D58863D}" srcOrd="7" destOrd="0" presId="urn:microsoft.com/office/officeart/2005/8/layout/chevron1"/>
    <dgm:cxn modelId="{F8C57224-A996-4806-A817-820A2B662D8F}" type="presParOf" srcId="{0AECE453-CE2A-473C-BD27-70D00DA5B95C}" destId="{F9B98EA2-A79E-4C06-916E-ABC9C3F9247C}" srcOrd="8" destOrd="0" presId="urn:microsoft.com/office/officeart/2005/8/layout/chevron1"/>
    <dgm:cxn modelId="{00B8BE29-4160-493D-A7D2-7C229446A3FB}" type="presParOf" srcId="{0AECE453-CE2A-473C-BD27-70D00DA5B95C}" destId="{8FE7D483-84DD-4369-B59B-213FCAD044F5}" srcOrd="9" destOrd="0" presId="urn:microsoft.com/office/officeart/2005/8/layout/chevron1"/>
    <dgm:cxn modelId="{681885F0-1A45-41AB-8CF7-CEE069931B4E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22EAF25-D588-459D-B345-DAB2C5C78F73}" type="presOf" srcId="{D0C25FB2-BCD9-40F2-AD7D-9958175F77A4}" destId="{3E9602A8-0A34-4630-A972-81E39BB9FA5D}" srcOrd="0" destOrd="0" presId="urn:microsoft.com/office/officeart/2005/8/layout/chevron1"/>
    <dgm:cxn modelId="{DCE2F313-4337-4153-9F10-C70DC3968996}" type="presOf" srcId="{F351D095-D2C1-4F62-A18D-EFB4BA6E2AA9}" destId="{6BF66C9A-92D4-481D-A538-FD1A4E3DC0D5}" srcOrd="0" destOrd="0" presId="urn:microsoft.com/office/officeart/2005/8/layout/chevron1"/>
    <dgm:cxn modelId="{1C549BC1-44C0-4606-81F9-FC4C46F68A1C}" type="presOf" srcId="{07921D32-2A49-4064-8236-E2B1B13CF472}" destId="{F9B98EA2-A79E-4C06-916E-ABC9C3F9247C}" srcOrd="0" destOrd="0" presId="urn:microsoft.com/office/officeart/2005/8/layout/chevron1"/>
    <dgm:cxn modelId="{708FB634-4684-4716-9A47-5D426C69D5A3}" type="presOf" srcId="{D14807FD-294C-4482-91EE-34C09B13669A}" destId="{BCE275B7-D1E9-4183-BABE-507E54E1C931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E1CB220E-D451-4F15-B0E0-0BD4DB6138CB}" type="presOf" srcId="{24CD6D97-A353-4B7A-99DF-2A36A0FDBD8D}" destId="{3A284FD7-3316-4771-9EA4-AE605C362812}" srcOrd="0" destOrd="0" presId="urn:microsoft.com/office/officeart/2005/8/layout/chevron1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36B5E499-2662-47E5-9E08-938874A281B1}" type="presOf" srcId="{EB61DA86-9B86-4759-822E-DA32F7AA073E}" destId="{135DB1F4-89C2-4733-9521-42FD5CECF10C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AFF32499-8A6B-4C8B-910D-9B9743FE93A6}" type="presOf" srcId="{9C869D94-BD20-4CF6-9CAA-58E706B950F6}" destId="{0AECE453-CE2A-473C-BD27-70D00DA5B95C}" srcOrd="0" destOrd="0" presId="urn:microsoft.com/office/officeart/2005/8/layout/chevron1"/>
    <dgm:cxn modelId="{F5025BDC-D927-474C-A15C-C7B6EED30F5E}" type="presParOf" srcId="{0AECE453-CE2A-473C-BD27-70D00DA5B95C}" destId="{135DB1F4-89C2-4733-9521-42FD5CECF10C}" srcOrd="0" destOrd="0" presId="urn:microsoft.com/office/officeart/2005/8/layout/chevron1"/>
    <dgm:cxn modelId="{613E03C0-238B-4A36-BACE-BF38ACD01405}" type="presParOf" srcId="{0AECE453-CE2A-473C-BD27-70D00DA5B95C}" destId="{E1C76734-9ABE-473C-AD4C-C4BF49F91E97}" srcOrd="1" destOrd="0" presId="urn:microsoft.com/office/officeart/2005/8/layout/chevron1"/>
    <dgm:cxn modelId="{A76AE182-94FD-4D1A-9729-E362C822A965}" type="presParOf" srcId="{0AECE453-CE2A-473C-BD27-70D00DA5B95C}" destId="{6BF66C9A-92D4-481D-A538-FD1A4E3DC0D5}" srcOrd="2" destOrd="0" presId="urn:microsoft.com/office/officeart/2005/8/layout/chevron1"/>
    <dgm:cxn modelId="{5A0618C3-A206-410D-BE46-019AE6B903AE}" type="presParOf" srcId="{0AECE453-CE2A-473C-BD27-70D00DA5B95C}" destId="{691CB221-7DD5-49BE-AC21-301798066F30}" srcOrd="3" destOrd="0" presId="urn:microsoft.com/office/officeart/2005/8/layout/chevron1"/>
    <dgm:cxn modelId="{92E4B920-87A4-4409-B026-E6C94E512844}" type="presParOf" srcId="{0AECE453-CE2A-473C-BD27-70D00DA5B95C}" destId="{3E9602A8-0A34-4630-A972-81E39BB9FA5D}" srcOrd="4" destOrd="0" presId="urn:microsoft.com/office/officeart/2005/8/layout/chevron1"/>
    <dgm:cxn modelId="{C9F37125-2AD4-4628-AEB5-071C3D8D46C9}" type="presParOf" srcId="{0AECE453-CE2A-473C-BD27-70D00DA5B95C}" destId="{D0B9A118-173B-40DB-89B8-9F21FF5432C9}" srcOrd="5" destOrd="0" presId="urn:microsoft.com/office/officeart/2005/8/layout/chevron1"/>
    <dgm:cxn modelId="{0481CBE7-27DE-431F-980E-32C561DEB4BD}" type="presParOf" srcId="{0AECE453-CE2A-473C-BD27-70D00DA5B95C}" destId="{BCE275B7-D1E9-4183-BABE-507E54E1C931}" srcOrd="6" destOrd="0" presId="urn:microsoft.com/office/officeart/2005/8/layout/chevron1"/>
    <dgm:cxn modelId="{F4B28048-D876-4A17-B28B-DB450796CC35}" type="presParOf" srcId="{0AECE453-CE2A-473C-BD27-70D00DA5B95C}" destId="{FF153DEA-B57F-4EDB-B3F8-C7CF6D58863D}" srcOrd="7" destOrd="0" presId="urn:microsoft.com/office/officeart/2005/8/layout/chevron1"/>
    <dgm:cxn modelId="{748357D0-AF61-4120-8241-35BCD368C681}" type="presParOf" srcId="{0AECE453-CE2A-473C-BD27-70D00DA5B95C}" destId="{F9B98EA2-A79E-4C06-916E-ABC9C3F9247C}" srcOrd="8" destOrd="0" presId="urn:microsoft.com/office/officeart/2005/8/layout/chevron1"/>
    <dgm:cxn modelId="{FC935E74-5903-4F33-BADE-F640FA4291ED}" type="presParOf" srcId="{0AECE453-CE2A-473C-BD27-70D00DA5B95C}" destId="{8FE7D483-84DD-4369-B59B-213FCAD044F5}" srcOrd="9" destOrd="0" presId="urn:microsoft.com/office/officeart/2005/8/layout/chevron1"/>
    <dgm:cxn modelId="{9D0A20D4-B345-466F-B6E0-A1BA2E79F22D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4A9D397-ACDE-4EA6-8648-F8CF6D48F204}" type="doc">
      <dgm:prSet loTypeId="urn:microsoft.com/office/officeart/2005/8/layout/matrix1" loCatId="matrix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F42B6A36-5B51-41B8-A0AF-B5CF7360E88C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LAMP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04F8D273-7EC9-4511-85DC-B820A99537B9}" type="parTrans" cxnId="{2197B02C-E1E4-4A5A-8CEF-57FE7C1C84C1}">
      <dgm:prSet/>
      <dgm:spPr/>
      <dgm:t>
        <a:bodyPr/>
        <a:lstStyle/>
        <a:p>
          <a:endParaRPr lang="de-DE"/>
        </a:p>
      </dgm:t>
    </dgm:pt>
    <dgm:pt modelId="{4155A42C-62A7-43A5-8520-578697E3E888}" type="sibTrans" cxnId="{2197B02C-E1E4-4A5A-8CEF-57FE7C1C84C1}">
      <dgm:prSet/>
      <dgm:spPr/>
      <dgm:t>
        <a:bodyPr/>
        <a:lstStyle/>
        <a:p>
          <a:endParaRPr lang="de-DE"/>
        </a:p>
      </dgm:t>
    </dgm:pt>
    <dgm:pt modelId="{859C838B-C0B7-4272-A0FB-F4AD4E4DB780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Betriebssystem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DC9E7F11-095F-4375-8F80-622B1A8D2464}" type="parTrans" cxnId="{C65D563E-B586-4383-A325-929EEC8CB13A}">
      <dgm:prSet/>
      <dgm:spPr/>
      <dgm:t>
        <a:bodyPr/>
        <a:lstStyle/>
        <a:p>
          <a:endParaRPr lang="de-DE"/>
        </a:p>
      </dgm:t>
    </dgm:pt>
    <dgm:pt modelId="{6468E6A4-7802-47E6-BB2F-A6A6AEB69D81}" type="sibTrans" cxnId="{C65D563E-B586-4383-A325-929EEC8CB13A}">
      <dgm:prSet/>
      <dgm:spPr/>
      <dgm:t>
        <a:bodyPr/>
        <a:lstStyle/>
        <a:p>
          <a:endParaRPr lang="de-DE"/>
        </a:p>
      </dgm:t>
    </dgm:pt>
    <dgm:pt modelId="{438C04D8-DAED-4826-AEA6-24539ED1BA19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Webserver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B6D45046-2ABD-469C-9536-EA97EF5AAEFE}" type="parTrans" cxnId="{491ACA40-3611-4C24-9927-815175ACF78E}">
      <dgm:prSet/>
      <dgm:spPr/>
      <dgm:t>
        <a:bodyPr/>
        <a:lstStyle/>
        <a:p>
          <a:endParaRPr lang="de-DE"/>
        </a:p>
      </dgm:t>
    </dgm:pt>
    <dgm:pt modelId="{E4F1988B-B9D6-4F6D-9CC9-B99C77EA0A40}" type="sibTrans" cxnId="{491ACA40-3611-4C24-9927-815175ACF78E}">
      <dgm:prSet/>
      <dgm:spPr/>
      <dgm:t>
        <a:bodyPr/>
        <a:lstStyle/>
        <a:p>
          <a:endParaRPr lang="de-DE"/>
        </a:p>
      </dgm:t>
    </dgm:pt>
    <dgm:pt modelId="{D0C36BE4-3ED4-45CE-8BB3-C19B4707E5FF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Datenbank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49D29D0E-E236-4502-A3D6-7277FA860BE1}" type="parTrans" cxnId="{DEBCAAD9-8D96-4283-B175-607840B9712F}">
      <dgm:prSet/>
      <dgm:spPr/>
      <dgm:t>
        <a:bodyPr/>
        <a:lstStyle/>
        <a:p>
          <a:endParaRPr lang="de-DE"/>
        </a:p>
      </dgm:t>
    </dgm:pt>
    <dgm:pt modelId="{9B3E979B-8852-4236-8E4B-58A23A653142}" type="sibTrans" cxnId="{DEBCAAD9-8D96-4283-B175-607840B9712F}">
      <dgm:prSet/>
      <dgm:spPr/>
      <dgm:t>
        <a:bodyPr/>
        <a:lstStyle/>
        <a:p>
          <a:endParaRPr lang="de-DE"/>
        </a:p>
      </dgm:t>
    </dgm:pt>
    <dgm:pt modelId="{13115DFF-EA7C-42CA-A74D-6F87E551A1C2}">
      <dgm:prSet phldrT="[Text]"/>
      <dgm:spPr/>
      <dgm:t>
        <a:bodyPr/>
        <a:lstStyle/>
        <a:p>
          <a:r>
            <a:rPr lang="de-DE" b="1" dirty="0" smtClean="0">
              <a:latin typeface="Arial" pitchFamily="34" charset="0"/>
              <a:cs typeface="Arial" pitchFamily="34" charset="0"/>
            </a:rPr>
            <a:t>Programmiersprache</a:t>
          </a:r>
          <a:endParaRPr lang="de-DE" b="1" dirty="0">
            <a:latin typeface="Arial" pitchFamily="34" charset="0"/>
            <a:cs typeface="Arial" pitchFamily="34" charset="0"/>
          </a:endParaRPr>
        </a:p>
      </dgm:t>
    </dgm:pt>
    <dgm:pt modelId="{E290618C-35C0-48B9-9FDF-45C5D9D1EA85}" type="parTrans" cxnId="{53B7A688-C239-4244-9198-BA43C34EE0F3}">
      <dgm:prSet/>
      <dgm:spPr/>
      <dgm:t>
        <a:bodyPr/>
        <a:lstStyle/>
        <a:p>
          <a:endParaRPr lang="de-DE"/>
        </a:p>
      </dgm:t>
    </dgm:pt>
    <dgm:pt modelId="{10334E70-34C0-488A-BA75-F932CB188CFE}" type="sibTrans" cxnId="{53B7A688-C239-4244-9198-BA43C34EE0F3}">
      <dgm:prSet/>
      <dgm:spPr/>
      <dgm:t>
        <a:bodyPr/>
        <a:lstStyle/>
        <a:p>
          <a:endParaRPr lang="de-DE"/>
        </a:p>
      </dgm:t>
    </dgm:pt>
    <dgm:pt modelId="{F6555017-91FD-4838-8E50-FA08965C6779}" type="pres">
      <dgm:prSet presAssocID="{14A9D397-ACDE-4EA6-8648-F8CF6D48F204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21EE278-09A1-45E6-A3D6-2044E678A68D}" type="pres">
      <dgm:prSet presAssocID="{14A9D397-ACDE-4EA6-8648-F8CF6D48F204}" presName="matrix" presStyleCnt="0"/>
      <dgm:spPr/>
    </dgm:pt>
    <dgm:pt modelId="{C69C847F-0AE9-4758-A9C9-738CC2FD6EEB}" type="pres">
      <dgm:prSet presAssocID="{14A9D397-ACDE-4EA6-8648-F8CF6D48F204}" presName="tile1" presStyleLbl="node1" presStyleIdx="0" presStyleCnt="4"/>
      <dgm:spPr/>
      <dgm:t>
        <a:bodyPr/>
        <a:lstStyle/>
        <a:p>
          <a:endParaRPr lang="de-DE"/>
        </a:p>
      </dgm:t>
    </dgm:pt>
    <dgm:pt modelId="{0B149FC4-7920-4C9A-8CF6-5F9E34338B9A}" type="pres">
      <dgm:prSet presAssocID="{14A9D397-ACDE-4EA6-8648-F8CF6D48F204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C4899B4-B3F2-4926-A46E-1FEE759972DD}" type="pres">
      <dgm:prSet presAssocID="{14A9D397-ACDE-4EA6-8648-F8CF6D48F204}" presName="tile2" presStyleLbl="node1" presStyleIdx="1" presStyleCnt="4"/>
      <dgm:spPr/>
      <dgm:t>
        <a:bodyPr/>
        <a:lstStyle/>
        <a:p>
          <a:endParaRPr lang="de-DE"/>
        </a:p>
      </dgm:t>
    </dgm:pt>
    <dgm:pt modelId="{2BFC0448-C4B8-4F0C-BC57-A4DCABF03A36}" type="pres">
      <dgm:prSet presAssocID="{14A9D397-ACDE-4EA6-8648-F8CF6D48F204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1A2C46-8057-4158-9B16-9F7DFE12D580}" type="pres">
      <dgm:prSet presAssocID="{14A9D397-ACDE-4EA6-8648-F8CF6D48F204}" presName="tile3" presStyleLbl="node1" presStyleIdx="2" presStyleCnt="4"/>
      <dgm:spPr/>
      <dgm:t>
        <a:bodyPr/>
        <a:lstStyle/>
        <a:p>
          <a:endParaRPr lang="de-DE"/>
        </a:p>
      </dgm:t>
    </dgm:pt>
    <dgm:pt modelId="{AF6CE5C6-D2C9-44A2-9B94-95AC820CAADC}" type="pres">
      <dgm:prSet presAssocID="{14A9D397-ACDE-4EA6-8648-F8CF6D48F204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8AB0F89-9F90-4926-8E84-79FBA75B2650}" type="pres">
      <dgm:prSet presAssocID="{14A9D397-ACDE-4EA6-8648-F8CF6D48F204}" presName="tile4" presStyleLbl="node1" presStyleIdx="3" presStyleCnt="4"/>
      <dgm:spPr/>
      <dgm:t>
        <a:bodyPr/>
        <a:lstStyle/>
        <a:p>
          <a:endParaRPr lang="de-DE"/>
        </a:p>
      </dgm:t>
    </dgm:pt>
    <dgm:pt modelId="{2419EB0E-DB77-47F8-B7CF-D8356F16495C}" type="pres">
      <dgm:prSet presAssocID="{14A9D397-ACDE-4EA6-8648-F8CF6D48F204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35EDFE0-3967-47E8-B8B9-0477668FEEFB}" type="pres">
      <dgm:prSet presAssocID="{14A9D397-ACDE-4EA6-8648-F8CF6D48F204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491ACA40-3611-4C24-9927-815175ACF78E}" srcId="{F42B6A36-5B51-41B8-A0AF-B5CF7360E88C}" destId="{438C04D8-DAED-4826-AEA6-24539ED1BA19}" srcOrd="1" destOrd="0" parTransId="{B6D45046-2ABD-469C-9536-EA97EF5AAEFE}" sibTransId="{E4F1988B-B9D6-4F6D-9CC9-B99C77EA0A40}"/>
    <dgm:cxn modelId="{A6D64A1A-7B7F-49A3-8D07-4CFD0BC79409}" type="presOf" srcId="{D0C36BE4-3ED4-45CE-8BB3-C19B4707E5FF}" destId="{891A2C46-8057-4158-9B16-9F7DFE12D580}" srcOrd="0" destOrd="0" presId="urn:microsoft.com/office/officeart/2005/8/layout/matrix1"/>
    <dgm:cxn modelId="{0A27F312-C181-4C2C-9411-0119740CF989}" type="presOf" srcId="{F42B6A36-5B51-41B8-A0AF-B5CF7360E88C}" destId="{D35EDFE0-3967-47E8-B8B9-0477668FEEFB}" srcOrd="0" destOrd="0" presId="urn:microsoft.com/office/officeart/2005/8/layout/matrix1"/>
    <dgm:cxn modelId="{54F2C2B5-D632-484F-8794-253DAC6704C9}" type="presOf" srcId="{859C838B-C0B7-4272-A0FB-F4AD4E4DB780}" destId="{0B149FC4-7920-4C9A-8CF6-5F9E34338B9A}" srcOrd="1" destOrd="0" presId="urn:microsoft.com/office/officeart/2005/8/layout/matrix1"/>
    <dgm:cxn modelId="{DF5EECD3-CBF4-4F28-BD0B-D5A4A1B9F094}" type="presOf" srcId="{438C04D8-DAED-4826-AEA6-24539ED1BA19}" destId="{2C4899B4-B3F2-4926-A46E-1FEE759972DD}" srcOrd="0" destOrd="0" presId="urn:microsoft.com/office/officeart/2005/8/layout/matrix1"/>
    <dgm:cxn modelId="{C175D36C-BFAF-47FD-90EC-398073133149}" type="presOf" srcId="{859C838B-C0B7-4272-A0FB-F4AD4E4DB780}" destId="{C69C847F-0AE9-4758-A9C9-738CC2FD6EEB}" srcOrd="0" destOrd="0" presId="urn:microsoft.com/office/officeart/2005/8/layout/matrix1"/>
    <dgm:cxn modelId="{53B7A688-C239-4244-9198-BA43C34EE0F3}" srcId="{F42B6A36-5B51-41B8-A0AF-B5CF7360E88C}" destId="{13115DFF-EA7C-42CA-A74D-6F87E551A1C2}" srcOrd="3" destOrd="0" parTransId="{E290618C-35C0-48B9-9FDF-45C5D9D1EA85}" sibTransId="{10334E70-34C0-488A-BA75-F932CB188CFE}"/>
    <dgm:cxn modelId="{2197B02C-E1E4-4A5A-8CEF-57FE7C1C84C1}" srcId="{14A9D397-ACDE-4EA6-8648-F8CF6D48F204}" destId="{F42B6A36-5B51-41B8-A0AF-B5CF7360E88C}" srcOrd="0" destOrd="0" parTransId="{04F8D273-7EC9-4511-85DC-B820A99537B9}" sibTransId="{4155A42C-62A7-43A5-8520-578697E3E888}"/>
    <dgm:cxn modelId="{68C5A0B0-7B41-4F85-A0CA-5111EC02D04F}" type="presOf" srcId="{13115DFF-EA7C-42CA-A74D-6F87E551A1C2}" destId="{D8AB0F89-9F90-4926-8E84-79FBA75B2650}" srcOrd="0" destOrd="0" presId="urn:microsoft.com/office/officeart/2005/8/layout/matrix1"/>
    <dgm:cxn modelId="{9BE935B0-510C-4A8E-8A45-4DF044AB2A28}" type="presOf" srcId="{14A9D397-ACDE-4EA6-8648-F8CF6D48F204}" destId="{F6555017-91FD-4838-8E50-FA08965C6779}" srcOrd="0" destOrd="0" presId="urn:microsoft.com/office/officeart/2005/8/layout/matrix1"/>
    <dgm:cxn modelId="{C65D563E-B586-4383-A325-929EEC8CB13A}" srcId="{F42B6A36-5B51-41B8-A0AF-B5CF7360E88C}" destId="{859C838B-C0B7-4272-A0FB-F4AD4E4DB780}" srcOrd="0" destOrd="0" parTransId="{DC9E7F11-095F-4375-8F80-622B1A8D2464}" sibTransId="{6468E6A4-7802-47E6-BB2F-A6A6AEB69D81}"/>
    <dgm:cxn modelId="{DD26EAE4-AA10-49DC-8D55-05D45898285E}" type="presOf" srcId="{438C04D8-DAED-4826-AEA6-24539ED1BA19}" destId="{2BFC0448-C4B8-4F0C-BC57-A4DCABF03A36}" srcOrd="1" destOrd="0" presId="urn:microsoft.com/office/officeart/2005/8/layout/matrix1"/>
    <dgm:cxn modelId="{DEBCAAD9-8D96-4283-B175-607840B9712F}" srcId="{F42B6A36-5B51-41B8-A0AF-B5CF7360E88C}" destId="{D0C36BE4-3ED4-45CE-8BB3-C19B4707E5FF}" srcOrd="2" destOrd="0" parTransId="{49D29D0E-E236-4502-A3D6-7277FA860BE1}" sibTransId="{9B3E979B-8852-4236-8E4B-58A23A653142}"/>
    <dgm:cxn modelId="{5A649DF2-06DD-4F0A-A40F-B7CA7F6ABB2B}" type="presOf" srcId="{13115DFF-EA7C-42CA-A74D-6F87E551A1C2}" destId="{2419EB0E-DB77-47F8-B7CF-D8356F16495C}" srcOrd="1" destOrd="0" presId="urn:microsoft.com/office/officeart/2005/8/layout/matrix1"/>
    <dgm:cxn modelId="{55DEF4EF-C2AB-491B-84A9-2626EFABBFFE}" type="presOf" srcId="{D0C36BE4-3ED4-45CE-8BB3-C19B4707E5FF}" destId="{AF6CE5C6-D2C9-44A2-9B94-95AC820CAADC}" srcOrd="1" destOrd="0" presId="urn:microsoft.com/office/officeart/2005/8/layout/matrix1"/>
    <dgm:cxn modelId="{9E803B9C-B5B5-48BB-BBC9-7BB5B0B43199}" type="presParOf" srcId="{F6555017-91FD-4838-8E50-FA08965C6779}" destId="{621EE278-09A1-45E6-A3D6-2044E678A68D}" srcOrd="0" destOrd="0" presId="urn:microsoft.com/office/officeart/2005/8/layout/matrix1"/>
    <dgm:cxn modelId="{49E5CB24-8E74-466F-84EC-3AE97FFF6AB3}" type="presParOf" srcId="{621EE278-09A1-45E6-A3D6-2044E678A68D}" destId="{C69C847F-0AE9-4758-A9C9-738CC2FD6EEB}" srcOrd="0" destOrd="0" presId="urn:microsoft.com/office/officeart/2005/8/layout/matrix1"/>
    <dgm:cxn modelId="{FB70525D-B736-4838-8B78-D0CD277C0188}" type="presParOf" srcId="{621EE278-09A1-45E6-A3D6-2044E678A68D}" destId="{0B149FC4-7920-4C9A-8CF6-5F9E34338B9A}" srcOrd="1" destOrd="0" presId="urn:microsoft.com/office/officeart/2005/8/layout/matrix1"/>
    <dgm:cxn modelId="{1D2FEAFF-05FC-4E7F-A003-1CEAE957B5EE}" type="presParOf" srcId="{621EE278-09A1-45E6-A3D6-2044E678A68D}" destId="{2C4899B4-B3F2-4926-A46E-1FEE759972DD}" srcOrd="2" destOrd="0" presId="urn:microsoft.com/office/officeart/2005/8/layout/matrix1"/>
    <dgm:cxn modelId="{7F95DD5E-962B-4559-B9BA-3CD55F03FEB7}" type="presParOf" srcId="{621EE278-09A1-45E6-A3D6-2044E678A68D}" destId="{2BFC0448-C4B8-4F0C-BC57-A4DCABF03A36}" srcOrd="3" destOrd="0" presId="urn:microsoft.com/office/officeart/2005/8/layout/matrix1"/>
    <dgm:cxn modelId="{47946623-46D7-478F-AE7B-285EC26591C3}" type="presParOf" srcId="{621EE278-09A1-45E6-A3D6-2044E678A68D}" destId="{891A2C46-8057-4158-9B16-9F7DFE12D580}" srcOrd="4" destOrd="0" presId="urn:microsoft.com/office/officeart/2005/8/layout/matrix1"/>
    <dgm:cxn modelId="{5A3C298B-C285-407C-A145-44B785329F04}" type="presParOf" srcId="{621EE278-09A1-45E6-A3D6-2044E678A68D}" destId="{AF6CE5C6-D2C9-44A2-9B94-95AC820CAADC}" srcOrd="5" destOrd="0" presId="urn:microsoft.com/office/officeart/2005/8/layout/matrix1"/>
    <dgm:cxn modelId="{CED2C5B6-5033-448A-90F2-C0F5A79EA60F}" type="presParOf" srcId="{621EE278-09A1-45E6-A3D6-2044E678A68D}" destId="{D8AB0F89-9F90-4926-8E84-79FBA75B2650}" srcOrd="6" destOrd="0" presId="urn:microsoft.com/office/officeart/2005/8/layout/matrix1"/>
    <dgm:cxn modelId="{99755FB9-9EF7-4483-B94D-B64DE19515A1}" type="presParOf" srcId="{621EE278-09A1-45E6-A3D6-2044E678A68D}" destId="{2419EB0E-DB77-47F8-B7CF-D8356F16495C}" srcOrd="7" destOrd="0" presId="urn:microsoft.com/office/officeart/2005/8/layout/matrix1"/>
    <dgm:cxn modelId="{CF0D3654-80F9-4C34-BF9D-2E69A2979E0D}" type="presParOf" srcId="{F6555017-91FD-4838-8E50-FA08965C6779}" destId="{D35EDFE0-3967-47E8-B8B9-0477668FEEFB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200" b="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4 OTC Services</a:t>
          </a: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7921D32-2A49-4064-8236-E2B1B13CF47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05 Bitnami</a:t>
          </a:r>
        </a:p>
      </dgm:t>
    </dgm:pt>
    <dgm:pt modelId="{FBF8B148-E78A-444E-931D-7C680A2EA79D}" type="parTrans" cxnId="{37B1C4BA-8B29-4F8F-958E-A6A617EE7126}">
      <dgm:prSet/>
      <dgm:spPr/>
      <dgm:t>
        <a:bodyPr/>
        <a:lstStyle/>
        <a:p>
          <a:endParaRPr lang="de-DE"/>
        </a:p>
      </dgm:t>
    </dgm:pt>
    <dgm:pt modelId="{6F9FB545-7042-4A48-991B-7385C70CBDB4}" type="sibTrans" cxnId="{37B1C4BA-8B29-4F8F-958E-A6A617EE7126}">
      <dgm:prSet/>
      <dgm:spPr/>
      <dgm:t>
        <a:bodyPr/>
        <a:lstStyle/>
        <a:p>
          <a:endParaRPr lang="de-DE"/>
        </a:p>
      </dgm:t>
    </dgm:pt>
    <dgm:pt modelId="{24CD6D97-A353-4B7A-99DF-2A36A0FDBD8D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6 Workshop</a:t>
          </a:r>
        </a:p>
      </dgm:t>
    </dgm:pt>
    <dgm:pt modelId="{F8DEE12D-F1EA-4D86-8889-6FB6CBB3806C}" type="parTrans" cxnId="{F4B66D5B-383F-4F54-B577-25F1305EE6E9}">
      <dgm:prSet/>
      <dgm:spPr/>
      <dgm:t>
        <a:bodyPr/>
        <a:lstStyle/>
        <a:p>
          <a:endParaRPr lang="de-DE"/>
        </a:p>
      </dgm:t>
    </dgm:pt>
    <dgm:pt modelId="{CA982305-90DC-472E-96B8-DCC6E01C369A}" type="sibTrans" cxnId="{F4B66D5B-383F-4F54-B577-25F1305EE6E9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153DEA-B57F-4EDB-B3F8-C7CF6D58863D}" type="pres">
      <dgm:prSet presAssocID="{2C90D9D0-5EB6-4F04-B6EF-52E861E21225}" presName="parTxOnlySpace" presStyleCnt="0"/>
      <dgm:spPr/>
    </dgm:pt>
    <dgm:pt modelId="{F9B98EA2-A79E-4C06-916E-ABC9C3F9247C}" type="pres">
      <dgm:prSet presAssocID="{07921D32-2A49-4064-8236-E2B1B13CF47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E7D483-84DD-4369-B59B-213FCAD044F5}" type="pres">
      <dgm:prSet presAssocID="{6F9FB545-7042-4A48-991B-7385C70CBDB4}" presName="parTxOnlySpace" presStyleCnt="0"/>
      <dgm:spPr/>
    </dgm:pt>
    <dgm:pt modelId="{3A284FD7-3316-4771-9EA4-AE605C362812}" type="pres">
      <dgm:prSet presAssocID="{24CD6D97-A353-4B7A-99DF-2A36A0FDBD8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EC860768-3BF0-48A7-B677-8852ECA64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80197CD4-42C5-4917-B5A2-62409939DD1E}" type="presOf" srcId="{24CD6D97-A353-4B7A-99DF-2A36A0FDBD8D}" destId="{3A284FD7-3316-4771-9EA4-AE605C362812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14153D68-60AC-40E5-A373-1FDA3B46902C}" type="presOf" srcId="{D0C25FB2-BCD9-40F2-AD7D-9958175F77A4}" destId="{3E9602A8-0A34-4630-A972-81E39BB9FA5D}" srcOrd="0" destOrd="0" presId="urn:microsoft.com/office/officeart/2005/8/layout/chevron1"/>
    <dgm:cxn modelId="{BA201FD9-0771-47C3-820B-6DD4DEB61A01}" type="presOf" srcId="{F351D095-D2C1-4F62-A18D-EFB4BA6E2AA9}" destId="{6BF66C9A-92D4-481D-A538-FD1A4E3DC0D5}" srcOrd="0" destOrd="0" presId="urn:microsoft.com/office/officeart/2005/8/layout/chevron1"/>
    <dgm:cxn modelId="{37B1C4BA-8B29-4F8F-958E-A6A617EE7126}" srcId="{9C869D94-BD20-4CF6-9CAA-58E706B950F6}" destId="{07921D32-2A49-4064-8236-E2B1B13CF472}" srcOrd="4" destOrd="0" parTransId="{FBF8B148-E78A-444E-931D-7C680A2EA79D}" sibTransId="{6F9FB545-7042-4A48-991B-7385C70CBDB4}"/>
    <dgm:cxn modelId="{BA55F501-0B1E-4DC0-8A8F-34AD8D103746}" type="presOf" srcId="{EB61DA86-9B86-4759-822E-DA32F7AA073E}" destId="{135DB1F4-89C2-4733-9521-42FD5CECF10C}" srcOrd="0" destOrd="0" presId="urn:microsoft.com/office/officeart/2005/8/layout/chevron1"/>
    <dgm:cxn modelId="{1D73DA71-F9F1-448F-8561-87B7C7385035}" type="presOf" srcId="{D14807FD-294C-4482-91EE-34C09B13669A}" destId="{BCE275B7-D1E9-4183-BABE-507E54E1C931}" srcOrd="0" destOrd="0" presId="urn:microsoft.com/office/officeart/2005/8/layout/chevron1"/>
    <dgm:cxn modelId="{81E5F83E-498E-495C-B126-2B1AC53604FF}" type="presOf" srcId="{07921D32-2A49-4064-8236-E2B1B13CF472}" destId="{F9B98EA2-A79E-4C06-916E-ABC9C3F9247C}" srcOrd="0" destOrd="0" presId="urn:microsoft.com/office/officeart/2005/8/layout/chevron1"/>
    <dgm:cxn modelId="{F4B66D5B-383F-4F54-B577-25F1305EE6E9}" srcId="{9C869D94-BD20-4CF6-9CAA-58E706B950F6}" destId="{24CD6D97-A353-4B7A-99DF-2A36A0FDBD8D}" srcOrd="5" destOrd="0" parTransId="{F8DEE12D-F1EA-4D86-8889-6FB6CBB3806C}" sibTransId="{CA982305-90DC-472E-96B8-DCC6E01C369A}"/>
    <dgm:cxn modelId="{D33D86F2-AB67-4B7E-9377-6742A7FE4895}" type="presParOf" srcId="{0AECE453-CE2A-473C-BD27-70D00DA5B95C}" destId="{135DB1F4-89C2-4733-9521-42FD5CECF10C}" srcOrd="0" destOrd="0" presId="urn:microsoft.com/office/officeart/2005/8/layout/chevron1"/>
    <dgm:cxn modelId="{3DEFD437-FB25-42CF-AD63-9AB29334D4BC}" type="presParOf" srcId="{0AECE453-CE2A-473C-BD27-70D00DA5B95C}" destId="{E1C76734-9ABE-473C-AD4C-C4BF49F91E97}" srcOrd="1" destOrd="0" presId="urn:microsoft.com/office/officeart/2005/8/layout/chevron1"/>
    <dgm:cxn modelId="{8AB950D0-8CF2-44CE-8D02-BEB9A997D4D1}" type="presParOf" srcId="{0AECE453-CE2A-473C-BD27-70D00DA5B95C}" destId="{6BF66C9A-92D4-481D-A538-FD1A4E3DC0D5}" srcOrd="2" destOrd="0" presId="urn:microsoft.com/office/officeart/2005/8/layout/chevron1"/>
    <dgm:cxn modelId="{D69B6B53-224D-47EB-B9DC-960ECBED2374}" type="presParOf" srcId="{0AECE453-CE2A-473C-BD27-70D00DA5B95C}" destId="{691CB221-7DD5-49BE-AC21-301798066F30}" srcOrd="3" destOrd="0" presId="urn:microsoft.com/office/officeart/2005/8/layout/chevron1"/>
    <dgm:cxn modelId="{205FC956-BF94-46E3-8FE4-180D3E296AE1}" type="presParOf" srcId="{0AECE453-CE2A-473C-BD27-70D00DA5B95C}" destId="{3E9602A8-0A34-4630-A972-81E39BB9FA5D}" srcOrd="4" destOrd="0" presId="urn:microsoft.com/office/officeart/2005/8/layout/chevron1"/>
    <dgm:cxn modelId="{7825734D-415F-43DB-BA83-5AB0158FA5EA}" type="presParOf" srcId="{0AECE453-CE2A-473C-BD27-70D00DA5B95C}" destId="{D0B9A118-173B-40DB-89B8-9F21FF5432C9}" srcOrd="5" destOrd="0" presId="urn:microsoft.com/office/officeart/2005/8/layout/chevron1"/>
    <dgm:cxn modelId="{947683AB-731B-46CB-94B0-3E53FF7859B2}" type="presParOf" srcId="{0AECE453-CE2A-473C-BD27-70D00DA5B95C}" destId="{BCE275B7-D1E9-4183-BABE-507E54E1C931}" srcOrd="6" destOrd="0" presId="urn:microsoft.com/office/officeart/2005/8/layout/chevron1"/>
    <dgm:cxn modelId="{0FFB317C-E2C8-4F20-AB64-C052A3FD90B2}" type="presParOf" srcId="{0AECE453-CE2A-473C-BD27-70D00DA5B95C}" destId="{FF153DEA-B57F-4EDB-B3F8-C7CF6D58863D}" srcOrd="7" destOrd="0" presId="urn:microsoft.com/office/officeart/2005/8/layout/chevron1"/>
    <dgm:cxn modelId="{557B6872-2BF7-4FD1-AFDA-F867DB8160CD}" type="presParOf" srcId="{0AECE453-CE2A-473C-BD27-70D00DA5B95C}" destId="{F9B98EA2-A79E-4C06-916E-ABC9C3F9247C}" srcOrd="8" destOrd="0" presId="urn:microsoft.com/office/officeart/2005/8/layout/chevron1"/>
    <dgm:cxn modelId="{7D042391-6351-4B4C-9793-2686B6752D0B}" type="presParOf" srcId="{0AECE453-CE2A-473C-BD27-70D00DA5B95C}" destId="{8FE7D483-84DD-4369-B59B-213FCAD044F5}" srcOrd="9" destOrd="0" presId="urn:microsoft.com/office/officeart/2005/8/layout/chevron1"/>
    <dgm:cxn modelId="{9F05BA00-F0B8-4EBD-B117-0A30D427FD2D}" type="presParOf" srcId="{0AECE453-CE2A-473C-BD27-70D00DA5B95C}" destId="{3A284FD7-3316-4771-9EA4-AE605C36281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7743825" cy="2511742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AC8A74-F87C-4B02-9448-DDBB12841FDC}">
      <dsp:nvSpPr>
        <dsp:cNvPr id="0" name=""/>
        <dsp:cNvSpPr/>
      </dsp:nvSpPr>
      <dsp:spPr>
        <a:xfrm>
          <a:off x="743575" y="244791"/>
          <a:ext cx="1252226" cy="20221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232314" y="2511742"/>
          <a:ext cx="2274748" cy="306990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                                  IT Systemkaufman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0" i="0" u="sng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adriano.perri@telekom.d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232314" y="2511742"/>
        <a:ext cx="2274748" cy="3069907"/>
      </dsp:txXfrm>
    </dsp:sp>
    <dsp:sp modelId="{3CFA2C21-08FD-4826-88F0-EC889468C537}">
      <dsp:nvSpPr>
        <dsp:cNvPr id="0" name=""/>
        <dsp:cNvSpPr/>
      </dsp:nvSpPr>
      <dsp:spPr>
        <a:xfrm>
          <a:off x="3165512" y="244791"/>
          <a:ext cx="1412800" cy="20221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2734538" y="2511742"/>
          <a:ext cx="2274748" cy="306990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chnology </a:t>
          </a: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anager Cloud </a:t>
          </a:r>
          <a:r>
            <a:rPr lang="de-DE" sz="1200" b="1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pplications</a:t>
          </a: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"/>
            </a:rPr>
            <a:t>frank.kloeker@telekom.d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200" b="0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2734538" y="2511742"/>
        <a:ext cx="2274748" cy="3069907"/>
      </dsp:txXfrm>
    </dsp:sp>
    <dsp:sp modelId="{51E2C9BD-377A-4B64-AC8C-E0C29D9DA4FF}">
      <dsp:nvSpPr>
        <dsp:cNvPr id="0" name=""/>
        <dsp:cNvSpPr/>
      </dsp:nvSpPr>
      <dsp:spPr>
        <a:xfrm>
          <a:off x="5651186" y="244791"/>
          <a:ext cx="1445898" cy="20221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FB1192-6944-413D-9590-F9446AB5D335}">
      <dsp:nvSpPr>
        <dsp:cNvPr id="0" name=""/>
        <dsp:cNvSpPr/>
      </dsp:nvSpPr>
      <dsp:spPr>
        <a:xfrm rot="10800000">
          <a:off x="5193655" y="2511742"/>
          <a:ext cx="2274748" cy="306990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Robért S. Guh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uszubildender Fachinformatiker für Systeminteg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robért.guhr@telekom.de</a:t>
          </a:r>
          <a:endParaRPr lang="de-DE" sz="105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ffice</a:t>
          </a:r>
          <a:endParaRPr lang="de-DE" sz="1100" b="0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2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5193655" y="2511742"/>
        <a:ext cx="2274748" cy="306990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0769606-16A9-4D67-9CF6-96224AED6460}">
      <dsp:nvSpPr>
        <dsp:cNvPr id="0" name=""/>
        <dsp:cNvSpPr/>
      </dsp:nvSpPr>
      <dsp:spPr>
        <a:xfrm>
          <a:off x="4751418" y="2600048"/>
          <a:ext cx="3177837" cy="3177837"/>
        </a:xfrm>
        <a:prstGeom prst="gear9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Open Telekom Cloud</a:t>
          </a:r>
          <a:endParaRPr lang="de-DE" sz="2200" kern="1200" dirty="0"/>
        </a:p>
      </dsp:txBody>
      <dsp:txXfrm>
        <a:off x="4751418" y="2600048"/>
        <a:ext cx="3177837" cy="3177837"/>
      </dsp:txXfrm>
    </dsp:sp>
    <dsp:sp modelId="{6129B1DA-3EAA-46EB-BDEB-BEAAF144AB43}">
      <dsp:nvSpPr>
        <dsp:cNvPr id="0" name=""/>
        <dsp:cNvSpPr/>
      </dsp:nvSpPr>
      <dsp:spPr>
        <a:xfrm>
          <a:off x="2902494" y="1848923"/>
          <a:ext cx="2311154" cy="2311154"/>
        </a:xfrm>
        <a:prstGeom prst="gear6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WordPress</a:t>
          </a:r>
          <a:endParaRPr lang="de-DE" sz="2200" kern="1200" dirty="0"/>
        </a:p>
      </dsp:txBody>
      <dsp:txXfrm>
        <a:off x="2902494" y="1848923"/>
        <a:ext cx="2311154" cy="2311154"/>
      </dsp:txXfrm>
    </dsp:sp>
    <dsp:sp modelId="{A4DFAFAF-96A6-4728-BE8F-6B3093242707}">
      <dsp:nvSpPr>
        <dsp:cNvPr id="0" name=""/>
        <dsp:cNvSpPr/>
      </dsp:nvSpPr>
      <dsp:spPr>
        <a:xfrm rot="20700000">
          <a:off x="4196977" y="254462"/>
          <a:ext cx="2264459" cy="2264459"/>
        </a:xfrm>
        <a:prstGeom prst="gear6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Bitnami</a:t>
          </a:r>
          <a:endParaRPr lang="de-DE" sz="2200" kern="1200" dirty="0"/>
        </a:p>
      </dsp:txBody>
      <dsp:txXfrm>
        <a:off x="4693639" y="751125"/>
        <a:ext cx="1271134" cy="1271134"/>
      </dsp:txXfrm>
    </dsp:sp>
    <dsp:sp modelId="{6061EA6F-DAE3-447F-9BCE-2DE66AB86F85}">
      <dsp:nvSpPr>
        <dsp:cNvPr id="0" name=""/>
        <dsp:cNvSpPr/>
      </dsp:nvSpPr>
      <dsp:spPr>
        <a:xfrm>
          <a:off x="4524826" y="2110348"/>
          <a:ext cx="4067631" cy="4067631"/>
        </a:xfrm>
        <a:prstGeom prst="circularArrow">
          <a:avLst>
            <a:gd name="adj1" fmla="val 4688"/>
            <a:gd name="adj2" fmla="val 299029"/>
            <a:gd name="adj3" fmla="val 2544384"/>
            <a:gd name="adj4" fmla="val 15801775"/>
            <a:gd name="adj5" fmla="val 5469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98831E2-BF64-4CE9-BF27-5E0CD9F438F0}">
      <dsp:nvSpPr>
        <dsp:cNvPr id="0" name=""/>
        <dsp:cNvSpPr/>
      </dsp:nvSpPr>
      <dsp:spPr>
        <a:xfrm>
          <a:off x="2493193" y="1330756"/>
          <a:ext cx="2955388" cy="295538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ED28953-75B3-4636-B3DC-7822EAC9D1D5}">
      <dsp:nvSpPr>
        <dsp:cNvPr id="0" name=""/>
        <dsp:cNvSpPr/>
      </dsp:nvSpPr>
      <dsp:spPr>
        <a:xfrm>
          <a:off x="3673184" y="-248334"/>
          <a:ext cx="3186504" cy="318650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69C847F-0AE9-4758-A9C9-738CC2FD6EEB}">
      <dsp:nvSpPr>
        <dsp:cNvPr id="0" name=""/>
        <dsp:cNvSpPr/>
      </dsp:nvSpPr>
      <dsp:spPr>
        <a:xfrm rot="16200000">
          <a:off x="373241" y="-373241"/>
          <a:ext cx="1066329" cy="1812812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Betriebssystem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 rot="16200000">
        <a:off x="506532" y="-506532"/>
        <a:ext cx="799747" cy="1812812"/>
      </dsp:txXfrm>
    </dsp:sp>
    <dsp:sp modelId="{2C4899B4-B3F2-4926-A46E-1FEE759972DD}">
      <dsp:nvSpPr>
        <dsp:cNvPr id="0" name=""/>
        <dsp:cNvSpPr/>
      </dsp:nvSpPr>
      <dsp:spPr>
        <a:xfrm>
          <a:off x="1812812" y="0"/>
          <a:ext cx="1812812" cy="1066329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Webserver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1812812" y="0"/>
        <a:ext cx="1812812" cy="799747"/>
      </dsp:txXfrm>
    </dsp:sp>
    <dsp:sp modelId="{891A2C46-8057-4158-9B16-9F7DFE12D580}">
      <dsp:nvSpPr>
        <dsp:cNvPr id="0" name=""/>
        <dsp:cNvSpPr/>
      </dsp:nvSpPr>
      <dsp:spPr>
        <a:xfrm rot="10800000">
          <a:off x="0" y="1066329"/>
          <a:ext cx="1812812" cy="1066329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Datenbank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 rot="10800000">
        <a:off x="0" y="1332911"/>
        <a:ext cx="1812812" cy="799747"/>
      </dsp:txXfrm>
    </dsp:sp>
    <dsp:sp modelId="{D8AB0F89-9F90-4926-8E84-79FBA75B2650}">
      <dsp:nvSpPr>
        <dsp:cNvPr id="0" name=""/>
        <dsp:cNvSpPr/>
      </dsp:nvSpPr>
      <dsp:spPr>
        <a:xfrm rot="5400000">
          <a:off x="2186053" y="693088"/>
          <a:ext cx="1066329" cy="1812812"/>
        </a:xfrm>
        <a:prstGeom prst="round1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Programmiersprache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 rot="5400000">
        <a:off x="2319344" y="826379"/>
        <a:ext cx="799747" cy="1812812"/>
      </dsp:txXfrm>
    </dsp:sp>
    <dsp:sp modelId="{D35EDFE0-3967-47E8-B8B9-0477668FEEFB}">
      <dsp:nvSpPr>
        <dsp:cNvPr id="0" name=""/>
        <dsp:cNvSpPr/>
      </dsp:nvSpPr>
      <dsp:spPr>
        <a:xfrm>
          <a:off x="1268968" y="799747"/>
          <a:ext cx="1087687" cy="533164"/>
        </a:xfrm>
        <a:prstGeom prst="roundRect">
          <a:avLst/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LAMP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1268968" y="799747"/>
        <a:ext cx="1087687" cy="533164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4922" y="773143"/>
          <a:ext cx="1831051" cy="7324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01 Vorstellung</a:t>
          </a:r>
          <a:endParaRPr lang="de-DE" sz="1200" b="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4922" y="773143"/>
        <a:ext cx="1831051" cy="732420"/>
      </dsp:txXfrm>
    </dsp:sp>
    <dsp:sp modelId="{6BF66C9A-92D4-481D-A538-FD1A4E3DC0D5}">
      <dsp:nvSpPr>
        <dsp:cNvPr id="0" name=""/>
        <dsp:cNvSpPr/>
      </dsp:nvSpPr>
      <dsp:spPr>
        <a:xfrm>
          <a:off x="1652868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2 Workshop Ziele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1652868" y="773143"/>
        <a:ext cx="1831051" cy="732420"/>
      </dsp:txXfrm>
    </dsp:sp>
    <dsp:sp modelId="{3E9602A8-0A34-4630-A972-81E39BB9FA5D}">
      <dsp:nvSpPr>
        <dsp:cNvPr id="0" name=""/>
        <dsp:cNvSpPr/>
      </dsp:nvSpPr>
      <dsp:spPr>
        <a:xfrm>
          <a:off x="3300814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3 OTC - Loginseiten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3300814" y="773143"/>
        <a:ext cx="1831051" cy="732420"/>
      </dsp:txXfrm>
    </dsp:sp>
    <dsp:sp modelId="{BCE275B7-D1E9-4183-BABE-507E54E1C931}">
      <dsp:nvSpPr>
        <dsp:cNvPr id="0" name=""/>
        <dsp:cNvSpPr/>
      </dsp:nvSpPr>
      <dsp:spPr>
        <a:xfrm>
          <a:off x="4948759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4 OTC Services</a:t>
          </a:r>
        </a:p>
      </dsp:txBody>
      <dsp:txXfrm>
        <a:off x="4948759" y="773143"/>
        <a:ext cx="1831051" cy="732420"/>
      </dsp:txXfrm>
    </dsp:sp>
    <dsp:sp modelId="{F9B98EA2-A79E-4C06-916E-ABC9C3F9247C}">
      <dsp:nvSpPr>
        <dsp:cNvPr id="0" name=""/>
        <dsp:cNvSpPr/>
      </dsp:nvSpPr>
      <dsp:spPr>
        <a:xfrm>
          <a:off x="6596705" y="773143"/>
          <a:ext cx="1831051" cy="7324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05 Bitnami</a:t>
          </a:r>
        </a:p>
      </dsp:txBody>
      <dsp:txXfrm>
        <a:off x="6596705" y="773143"/>
        <a:ext cx="1831051" cy="732420"/>
      </dsp:txXfrm>
    </dsp:sp>
    <dsp:sp modelId="{3A284FD7-3316-4771-9EA4-AE605C362812}">
      <dsp:nvSpPr>
        <dsp:cNvPr id="0" name=""/>
        <dsp:cNvSpPr/>
      </dsp:nvSpPr>
      <dsp:spPr>
        <a:xfrm>
          <a:off x="8244651" y="773143"/>
          <a:ext cx="1831051" cy="7324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6 Workshop</a:t>
          </a:r>
        </a:p>
      </dsp:txBody>
      <dsp:txXfrm>
        <a:off x="8244651" y="773143"/>
        <a:ext cx="1831051" cy="732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 dirty="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 dirty="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rafik 63" descr="T_Logo_3c_Slogan_n_DE-100%.emf"/>
          <p:cNvPicPr>
            <a:picLocks noChangeAspect="1"/>
          </p:cNvPicPr>
          <p:nvPr userDrawn="1"/>
        </p:nvPicPr>
        <p:blipFill>
          <a:blip r:embed="rId2"/>
          <a:srcRect l="39552"/>
          <a:stretch>
            <a:fillRect/>
          </a:stretch>
        </p:blipFill>
        <p:spPr bwMode="black">
          <a:xfrm>
            <a:off x="7345363" y="6678000"/>
            <a:ext cx="2378626" cy="522000"/>
          </a:xfrm>
          <a:prstGeom prst="rect">
            <a:avLst/>
          </a:prstGeom>
        </p:spPr>
      </p:pic>
      <p:pic>
        <p:nvPicPr>
          <p:cNvPr id="65" name="Grafik 64" descr="T_Logo_3c_Slogan_n_DE-100%.emf"/>
          <p:cNvPicPr>
            <a:picLocks noChangeAspect="1"/>
          </p:cNvPicPr>
          <p:nvPr userDrawn="1"/>
        </p:nvPicPr>
        <p:blipFill>
          <a:blip r:embed="rId2"/>
          <a:srcRect r="70608"/>
          <a:stretch>
            <a:fillRect/>
          </a:stretch>
        </p:blipFill>
        <p:spPr bwMode="black">
          <a:xfrm>
            <a:off x="360000" y="6678000"/>
            <a:ext cx="1156566" cy="522000"/>
          </a:xfrm>
          <a:prstGeom prst="rect">
            <a:avLst/>
          </a:prstGeom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6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40"/>
            <a:ext cx="10080000" cy="755961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1C03ACE-FCD6-4FD0-A940-FCE5396F0F6E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1809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40"/>
            <a:ext cx="10080000" cy="755961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FA0755-8FF1-4F49-B2C4-0E6BCF4FC8DA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1"/>
            <a:ext cx="10078941" cy="756126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4AE6149-4E15-4BBF-A38E-8C0FC943B167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44487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25340B-3307-484D-850E-C732D74DE279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11722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CA8088-F3D7-4B63-8928-8AD26422C0B0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19689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D2BA24-D7FC-476D-BCF5-A682C47716A5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24800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9C11A-AFC6-4205-98C4-54A92D958729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2F63C-7D77-4137-BE58-3A164DA16AAB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1A7DE-0895-4C82-A3D6-2492DADB9966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21C3-445D-489B-B21D-4A46BD56E9EC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Flächenmod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48) 60 </a:t>
            </a:r>
            <a:r>
              <a:rPr kumimoji="0" lang="de-DE" sz="4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r>
              <a:rPr kumimoji="0" lang="de-DE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</a:t>
            </a:r>
            <a:r>
              <a:rPr lang="de-DE" dirty="0" err="1" smtClean="0"/>
              <a:t>TeleGrotesk</a:t>
            </a:r>
            <a:r>
              <a:rPr lang="de-DE" dirty="0" smtClean="0"/>
              <a:t>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66" name="Grafik 65" descr="T_Logo_3c_Slogan_n_DE-100%.emf"/>
          <p:cNvPicPr>
            <a:picLocks noChangeAspect="1"/>
          </p:cNvPicPr>
          <p:nvPr userDrawn="1"/>
        </p:nvPicPr>
        <p:blipFill>
          <a:blip r:embed="rId2"/>
          <a:srcRect l="39552"/>
          <a:stretch>
            <a:fillRect/>
          </a:stretch>
        </p:blipFill>
        <p:spPr>
          <a:xfrm>
            <a:off x="7345363" y="6678173"/>
            <a:ext cx="2378626" cy="521653"/>
          </a:xfrm>
          <a:prstGeom prst="rect">
            <a:avLst/>
          </a:prstGeom>
        </p:spPr>
      </p:pic>
      <p:pic>
        <p:nvPicPr>
          <p:cNvPr id="67" name="Grafik 66" descr="T_Logo_3c_Slogan_n_DE-100%.emf"/>
          <p:cNvPicPr>
            <a:picLocks noChangeAspect="1"/>
          </p:cNvPicPr>
          <p:nvPr userDrawn="1"/>
        </p:nvPicPr>
        <p:blipFill>
          <a:blip r:embed="rId2"/>
          <a:srcRect r="68152"/>
          <a:stretch>
            <a:fillRect/>
          </a:stretch>
        </p:blipFill>
        <p:spPr>
          <a:xfrm>
            <a:off x="360000" y="6678173"/>
            <a:ext cx="1253210" cy="52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18931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37874" y="1620000"/>
            <a:ext cx="3008152" cy="4896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B66054-A8AE-460E-8FC2-351B4D650C18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06163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2737378" y="1620000"/>
            <a:ext cx="2232000" cy="4896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080F19D-6384-4AEA-8E2F-8FC76412CEB8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013148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21"/>
          <p:cNvSpPr/>
          <p:nvPr userDrawn="1"/>
        </p:nvSpPr>
        <p:spPr bwMode="gray">
          <a:xfrm>
            <a:off x="1" y="6866629"/>
            <a:ext cx="3617842" cy="635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49EE100-1190-40A5-942A-C8A3B62A0AED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77397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21"/>
          <p:cNvSpPr/>
          <p:nvPr userDrawn="1"/>
        </p:nvSpPr>
        <p:spPr bwMode="gray">
          <a:xfrm>
            <a:off x="1" y="6866629"/>
            <a:ext cx="3617842" cy="635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5CC437-6A27-46FE-A49A-9118CEEC118D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99627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6866629"/>
            <a:ext cx="3617842" cy="635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 baseline="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3D1CD3A-FA19-4FB1-8E7E-DABC0B22E9A0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785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/>
          <p:cNvPicPr>
            <a:picLocks noChangeArrowheads="1"/>
          </p:cNvPicPr>
          <p:nvPr userDrawn="1"/>
        </p:nvPicPr>
        <p:blipFill>
          <a:blip r:embed="rId5"/>
          <a:srcRect l="5560" r="5534"/>
          <a:stretch>
            <a:fillRect/>
          </a:stretch>
        </p:blipFill>
        <p:spPr bwMode="auto">
          <a:xfrm>
            <a:off x="-1" y="-1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de-DE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4" name="Grafik 43" descr="T_Logo_3c_Slogan_n_DE-100%.emf"/>
          <p:cNvPicPr>
            <a:picLocks noChangeAspect="1"/>
          </p:cNvPicPr>
          <p:nvPr userDrawn="1"/>
        </p:nvPicPr>
        <p:blipFill>
          <a:blip r:embed="rId6"/>
          <a:srcRect r="70608"/>
          <a:stretch>
            <a:fillRect/>
          </a:stretch>
        </p:blipFill>
        <p:spPr>
          <a:xfrm>
            <a:off x="539823" y="6501629"/>
            <a:ext cx="1156566" cy="522000"/>
          </a:xfrm>
          <a:prstGeom prst="rect">
            <a:avLst/>
          </a:prstGeom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(40) 48 </a:t>
            </a:r>
            <a:r>
              <a:rPr kumimoji="0" lang="de-DE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43" name="Grafik 42" descr="T_Logo_3c_Slogan_n_DE-100%.emf"/>
          <p:cNvPicPr>
            <a:picLocks noChangeAspect="1"/>
          </p:cNvPicPr>
          <p:nvPr userDrawn="1"/>
        </p:nvPicPr>
        <p:blipFill>
          <a:blip r:embed="rId6"/>
          <a:srcRect l="39552"/>
          <a:stretch>
            <a:fillRect/>
          </a:stretch>
        </p:blipFill>
        <p:spPr>
          <a:xfrm>
            <a:off x="7158219" y="6501629"/>
            <a:ext cx="2378626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08171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60363" y="360000"/>
            <a:ext cx="9360000" cy="3832998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43" name="Grafik 42" descr="T_Logo_3c_Slogan_n_DE-100%.emf"/>
          <p:cNvPicPr>
            <a:picLocks noChangeAspect="1"/>
          </p:cNvPicPr>
          <p:nvPr userDrawn="1"/>
        </p:nvPicPr>
        <p:blipFill>
          <a:blip r:embed="rId4"/>
          <a:srcRect l="39552"/>
          <a:stretch>
            <a:fillRect/>
          </a:stretch>
        </p:blipFill>
        <p:spPr>
          <a:xfrm>
            <a:off x="7345363" y="6678173"/>
            <a:ext cx="2378626" cy="521653"/>
          </a:xfrm>
          <a:prstGeom prst="rect">
            <a:avLst/>
          </a:prstGeom>
        </p:spPr>
      </p:pic>
      <p:pic>
        <p:nvPicPr>
          <p:cNvPr id="44" name="Grafik 43" descr="T_Logo_3c_Slogan_n_DE-100%.emf"/>
          <p:cNvPicPr>
            <a:picLocks noChangeAspect="1"/>
          </p:cNvPicPr>
          <p:nvPr userDrawn="1"/>
        </p:nvPicPr>
        <p:blipFill>
          <a:blip r:embed="rId4"/>
          <a:srcRect r="69097"/>
          <a:stretch>
            <a:fillRect/>
          </a:stretch>
        </p:blipFill>
        <p:spPr>
          <a:xfrm>
            <a:off x="360000" y="6678173"/>
            <a:ext cx="1216039" cy="5216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6211878-8A38-4651-9EE8-B73D95280840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821"/>
            <a:ext cx="10080000" cy="755962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0B04D74-22ED-47C5-AB0B-A5D8607522C5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076EAFB-D6C6-4447-899D-A7BDC4612B83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88255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40"/>
            <a:ext cx="10080000" cy="755961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4C44B57-0E6C-42D2-A099-0AEA3EE270B9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41"/>
            <a:ext cx="10080000" cy="755962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FE3FBD3-BA67-412F-8AA5-F608472E4D86}" type="datetime1">
              <a:rPr lang="de-DE" smtClean="0"/>
              <a:pPr/>
              <a:t>05.07.2017</a:t>
            </a:fld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06715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 descr="T_Logo_3c_Slogan_p_DE_1000%.emf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60000" y="6919119"/>
            <a:ext cx="3122910" cy="414000"/>
          </a:xfrm>
          <a:prstGeom prst="rect">
            <a:avLst/>
          </a:prstGeom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8431200" y="6980400"/>
            <a:ext cx="900000" cy="32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C3F5A917-7222-4A00-89BE-55BDCA39150F}" type="datetime1">
              <a:rPr lang="de-DE" noProof="0" smtClean="0"/>
              <a:pPr/>
              <a:t>05.07.2017</a:t>
            </a:fld>
            <a:endParaRPr lang="de-DE" noProof="0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816000" y="6980400"/>
            <a:ext cx="4539600" cy="32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dirty="0" smtClean="0"/>
              <a:t>– CLOUD KINDERGARTEN - PLAYING TOGETHER IN THE CLOUD –    ADRIANO PERRI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9406800" y="6980400"/>
            <a:ext cx="320400" cy="32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2C068DA-D53D-462E-BFC0-FE45A468E8EF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30.png"/><Relationship Id="rId7" Type="http://schemas.openxmlformats.org/officeDocument/2006/relationships/diagramColors" Target="../diagrams/colors8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P-Gx-rkLhi0" TargetMode="External"/><Relationship Id="rId13" Type="http://schemas.openxmlformats.org/officeDocument/2006/relationships/image" Target="../media/image23.png"/><Relationship Id="rId3" Type="http://schemas.openxmlformats.org/officeDocument/2006/relationships/hyperlink" Target="http://superuser.openstack.org/articles/cloud-kindergarten-openstack-careers/" TargetMode="External"/><Relationship Id="rId7" Type="http://schemas.openxmlformats.org/officeDocument/2006/relationships/hyperlink" Target="https://www.youtube.com/watch?v=2bGmgTz9emk" TargetMode="External"/><Relationship Id="rId12" Type="http://schemas.openxmlformats.org/officeDocument/2006/relationships/image" Target="../media/image2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watch?v=6krNErxJ0-Y" TargetMode="External"/><Relationship Id="rId11" Type="http://schemas.openxmlformats.org/officeDocument/2006/relationships/image" Target="../media/image21.jpeg"/><Relationship Id="rId5" Type="http://schemas.openxmlformats.org/officeDocument/2006/relationships/hyperlink" Target="https://cloud.telekom.de/blog/der-cloud-kindergarten-auf-dem-openstack-summit-in-barcelona/?xtmc=summitinbarcelona&amp;xtnp=1&amp;xtcr=2" TargetMode="External"/><Relationship Id="rId15" Type="http://schemas.openxmlformats.org/officeDocument/2006/relationships/image" Target="../media/image25.jpeg"/><Relationship Id="rId10" Type="http://schemas.openxmlformats.org/officeDocument/2006/relationships/image" Target="../media/image20.png"/><Relationship Id="rId4" Type="http://schemas.openxmlformats.org/officeDocument/2006/relationships/hyperlink" Target="https://cloud.telekom.de/blog/telekom-auf-dem-openstack-summit-in-barcelona/?xtmc=summitinbarcelona&amp;xtnp=1&amp;xtcr=1" TargetMode="External"/><Relationship Id="rId9" Type="http://schemas.openxmlformats.org/officeDocument/2006/relationships/hyperlink" Target="https://yam.telekom.de/groups/cloud-kindergarten" TargetMode="External"/><Relationship Id="rId1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 bwMode="gray">
          <a:xfrm>
            <a:off x="3486150" y="4924425"/>
            <a:ext cx="3124200" cy="68825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cs typeface="Vani" pitchFamily="34" charset="0"/>
              </a:rPr>
              <a:t>WORKSHOP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3 OTC Login – Seiten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4" name="Picture 2" descr="C:\Users\eumel\OneDrive\Bilder\Screenshots\2017-05-2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3963" y="655009"/>
            <a:ext cx="9841278" cy="5597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3 OTC Loginseiten – MyWorkplace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0" y="6259421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myworkplace.t-systems.com/MyWorkplace/Login.aspx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4" name="Picture 2" descr="C:\Users\eumel\OneDrive\Bilder\Screenshots\2017-05-26 (1)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3963" y="668657"/>
            <a:ext cx="9841278" cy="5597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3 OTC Loginseiten – </a:t>
            </a:r>
            <a:r>
              <a:rPr lang="de-DE" sz="3200" dirty="0" err="1" smtClean="0">
                <a:solidFill>
                  <a:srgbClr val="E20074"/>
                </a:solidFill>
                <a:latin typeface="+mj-lt"/>
              </a:rPr>
              <a:t>Otc</a:t>
            </a: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 Console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0" y="6259421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console.otc.t-systems.com/console/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4" name="Picture 2" descr="C:\Users\eumel\OneDrive\Bilder\Screenshots\2017-05-26 (2)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3963" y="627713"/>
            <a:ext cx="9841278" cy="5597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3 OTC Loginseiten – Bitnami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0" y="6259421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opentelekomcloud.bitnami.com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4 OTC Services (Console)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4 OTC Services (Console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" y="1074738"/>
            <a:ext cx="10080625" cy="509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5 Bitnami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5 Bitnami</a:t>
            </a:r>
          </a:p>
        </p:txBody>
      </p:sp>
      <p:sp>
        <p:nvSpPr>
          <p:cNvPr id="4" name="Textfeld 3"/>
          <p:cNvSpPr txBox="1"/>
          <p:nvPr/>
        </p:nvSpPr>
        <p:spPr bwMode="gray">
          <a:xfrm>
            <a:off x="-1" y="1132764"/>
            <a:ext cx="10080625" cy="48124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Projekt, das eine Ansammlung von 140+ Open Source Applikationen bereitstellt</a:t>
            </a:r>
          </a:p>
          <a:p>
            <a:pPr marL="0" indent="0">
              <a:lnSpc>
                <a:spcPct val="300000"/>
              </a:lnSpc>
              <a:buFont typeface="Wingdings" pitchFamily="2" charset="2"/>
              <a:buChar char="§"/>
            </a:pPr>
            <a:r>
              <a:rPr lang="de-DE" sz="2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Anwendungspakete sind…</a:t>
            </a:r>
          </a:p>
          <a:p>
            <a:pPr marL="918972" lvl="1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fertig konfiguriert</a:t>
            </a:r>
          </a:p>
          <a:p>
            <a:pPr marL="918972" lvl="1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leicht zu installieren</a:t>
            </a:r>
          </a:p>
          <a:p>
            <a:pPr marL="918972" lvl="1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teils kostenlos</a:t>
            </a:r>
          </a:p>
          <a:p>
            <a:pPr marL="918972" lvl="1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Qualitativ hochwertig</a:t>
            </a:r>
          </a:p>
          <a:p>
            <a:pPr marL="918972" lvl="1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 smtClean="0">
                <a:latin typeface="Arial" pitchFamily="34" charset="0"/>
                <a:cs typeface="Arial" pitchFamily="34" charset="0"/>
              </a:rPr>
              <a:t>immer </a:t>
            </a:r>
            <a:r>
              <a:rPr lang="de-DE" sz="2000" dirty="0" err="1" smtClean="0">
                <a:latin typeface="Arial" pitchFamily="34" charset="0"/>
                <a:cs typeface="Arial" pitchFamily="34" charset="0"/>
              </a:rPr>
              <a:t>Up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-to-Date</a:t>
            </a:r>
          </a:p>
          <a:p>
            <a:pPr marL="342900" indent="-342900"/>
            <a:endParaRPr lang="de-DE" sz="20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de-DE" sz="20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latin typeface="Arial" pitchFamily="34" charset="0"/>
                <a:cs typeface="Arial" pitchFamily="34" charset="0"/>
              </a:rPr>
              <a:t>Stacks</a:t>
            </a:r>
            <a:r>
              <a:rPr lang="de-DE" sz="2000" dirty="0" smtClean="0">
                <a:latin typeface="Arial" pitchFamily="34" charset="0"/>
                <a:cs typeface="Arial" pitchFamily="34" charset="0"/>
              </a:rPr>
              <a:t> beinhalten notwendige Infrastruktur, um Anwendung zu betreiben</a:t>
            </a:r>
          </a:p>
          <a:p>
            <a:pPr marL="342900" indent="-342900"/>
            <a:endParaRPr lang="de-DE" sz="1800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5 Bitnami</a:t>
            </a:r>
          </a:p>
        </p:txBody>
      </p:sp>
      <p:pic>
        <p:nvPicPr>
          <p:cNvPr id="1026" name="Picture 2" descr="D:\lamp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93807"/>
            <a:ext cx="10080625" cy="5338503"/>
          </a:xfrm>
          <a:prstGeom prst="rect">
            <a:avLst/>
          </a:prstGeom>
          <a:noFill/>
        </p:spPr>
      </p:pic>
      <p:graphicFrame>
        <p:nvGraphicFramePr>
          <p:cNvPr id="6" name="Diagramm 5"/>
          <p:cNvGraphicFramePr/>
          <p:nvPr/>
        </p:nvGraphicFramePr>
        <p:xfrm>
          <a:off x="6182437" y="4599295"/>
          <a:ext cx="3625624" cy="2132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Textfeld 8"/>
          <p:cNvSpPr txBox="1"/>
          <p:nvPr/>
        </p:nvSpPr>
        <p:spPr bwMode="gray">
          <a:xfrm>
            <a:off x="-1" y="4851611"/>
            <a:ext cx="4094329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Font typeface="Wingdings" pitchFamily="2" charset="2"/>
              <a:buChar char="§"/>
            </a:pPr>
            <a:r>
              <a:rPr lang="de-DE" sz="18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err="1" smtClean="0">
                <a:latin typeface="Arial" pitchFamily="34" charset="0"/>
                <a:cs typeface="Arial" pitchFamily="34" charset="0"/>
              </a:rPr>
              <a:t>Stack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 zur Software enthält ebenfalls   </a:t>
            </a:r>
          </a:p>
          <a:p>
            <a:pPr marL="0" indent="0"/>
            <a:r>
              <a:rPr lang="de-DE" sz="1800" dirty="0" smtClean="0">
                <a:latin typeface="Arial" pitchFamily="34" charset="0"/>
                <a:cs typeface="Arial" pitchFamily="34" charset="0"/>
              </a:rPr>
              <a:t>   die notwendige Umgebung</a:t>
            </a:r>
          </a:p>
          <a:p>
            <a:pPr marL="0" indent="0">
              <a:buNone/>
            </a:pPr>
            <a:endParaRPr lang="de-DE" sz="18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buFont typeface="Wingdings" pitchFamily="2" charset="2"/>
              <a:buChar char="§"/>
            </a:pPr>
            <a:r>
              <a:rPr lang="de-DE" sz="18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LAMP ist ein</a:t>
            </a:r>
            <a:r>
              <a:rPr lang="de-DE" sz="1800" dirty="0" smtClean="0">
                <a:latin typeface="Arial" pitchFamily="34" charset="0"/>
                <a:cs typeface="Arial" pitchFamily="34" charset="0"/>
                <a:sym typeface="Wingdings" pitchFamily="2" charset="2"/>
              </a:rPr>
              <a:t> Akronym</a:t>
            </a:r>
            <a:endParaRPr lang="de-DE" sz="18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6 Workshop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 bwMode="gray">
          <a:xfrm>
            <a:off x="1" y="3263177"/>
            <a:ext cx="3286124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4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ea typeface="MS PGothic" pitchFamily="34" charset="-128"/>
                <a:cs typeface="Vani" pitchFamily="34" charset="0"/>
              </a:rPr>
              <a:t>AGENDA</a:t>
            </a:r>
            <a:endParaRPr lang="de-DE" sz="54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Vani" pitchFamily="34" charset="0"/>
              <a:ea typeface="MS PGothic" pitchFamily="34" charset="-128"/>
              <a:cs typeface="Vani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 bwMode="gray">
          <a:xfrm>
            <a:off x="-9524" y="3993083"/>
            <a:ext cx="3286125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ea typeface="MS PGothic" pitchFamily="34" charset="-128"/>
                <a:cs typeface="Vani" pitchFamily="34" charset="0"/>
              </a:rPr>
              <a:t>CLOUD CAMP</a:t>
            </a:r>
          </a:p>
          <a:p>
            <a:pPr marL="0" indent="0" algn="ctr">
              <a:buNone/>
            </a:pPr>
            <a:r>
              <a:rPr lang="de-DE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Vani" pitchFamily="34" charset="0"/>
                <a:ea typeface="MS PGothic" pitchFamily="34" charset="-128"/>
                <a:cs typeface="Vani" pitchFamily="34" charset="0"/>
              </a:rPr>
              <a:t>2017</a:t>
            </a:r>
          </a:p>
        </p:txBody>
      </p:sp>
      <p:sp>
        <p:nvSpPr>
          <p:cNvPr id="14" name="Textfeld 13"/>
          <p:cNvSpPr txBox="1"/>
          <p:nvPr/>
        </p:nvSpPr>
        <p:spPr bwMode="gray">
          <a:xfrm>
            <a:off x="3376613" y="969626"/>
            <a:ext cx="3346450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1 Vorstellung</a:t>
            </a:r>
          </a:p>
        </p:txBody>
      </p:sp>
      <p:sp>
        <p:nvSpPr>
          <p:cNvPr id="15" name="Textfeld 14"/>
          <p:cNvSpPr txBox="1"/>
          <p:nvPr/>
        </p:nvSpPr>
        <p:spPr bwMode="gray">
          <a:xfrm>
            <a:off x="3376612" y="2167047"/>
            <a:ext cx="3357563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2 Workshop Ziele</a:t>
            </a:r>
            <a:endPara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 bwMode="gray">
          <a:xfrm>
            <a:off x="6723062" y="969626"/>
            <a:ext cx="3357563" cy="93447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3 OTC – Loginseiten </a:t>
            </a:r>
          </a:p>
          <a:p>
            <a:pPr algn="ctr" fontAlgn="base"/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(MyWorkplace, OTC-Console, Bitnami)</a:t>
            </a:r>
            <a:r>
              <a:rPr lang="en-US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​</a:t>
            </a:r>
          </a:p>
        </p:txBody>
      </p:sp>
      <p:sp>
        <p:nvSpPr>
          <p:cNvPr id="18" name="Textfeld 17"/>
          <p:cNvSpPr txBox="1"/>
          <p:nvPr/>
        </p:nvSpPr>
        <p:spPr bwMode="gray">
          <a:xfrm>
            <a:off x="6723062" y="2167047"/>
            <a:ext cx="3357563" cy="68825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04 OTC Services​ </a:t>
            </a: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(Console)</a:t>
            </a:r>
            <a:endParaRPr lang="de-DE" sz="24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4056226" y="4667250"/>
            <a:ext cx="5219371" cy="8113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5 Bitnami</a:t>
            </a:r>
            <a:endParaRPr lang="en-US" sz="2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 fontAlgn="base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​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4056226" y="5582885"/>
            <a:ext cx="5219371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/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6 Workshop</a:t>
            </a:r>
            <a:endParaRPr lang="en-US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0" y="3108612"/>
            <a:ext cx="10080625" cy="191936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Vielen Dank für Ihre Teilnahme </a:t>
            </a: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  <a:sym typeface="Wingdings" pitchFamily="2" charset="2"/>
              </a:rPr>
              <a:t></a:t>
            </a:r>
            <a:endParaRPr lang="de-DE" sz="60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6 Workshop – </a:t>
            </a:r>
            <a:r>
              <a:rPr lang="de-DE" sz="3200" dirty="0" err="1" smtClean="0">
                <a:solidFill>
                  <a:srgbClr val="E20074"/>
                </a:solidFill>
                <a:latin typeface="+mj-lt"/>
              </a:rPr>
              <a:t>extended</a:t>
            </a:r>
            <a:endParaRPr lang="de-DE" sz="3200" dirty="0" smtClean="0">
              <a:solidFill>
                <a:srgbClr val="E20074"/>
              </a:solidFill>
              <a:latin typeface="+mj-lt"/>
            </a:endParaRPr>
          </a:p>
        </p:txBody>
      </p:sp>
      <p:pic>
        <p:nvPicPr>
          <p:cNvPr id="2050" name="Picture 2" descr="D:\OTC Connect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0245" y="1322197"/>
            <a:ext cx="9681709" cy="4740939"/>
          </a:xfrm>
          <a:prstGeom prst="rect">
            <a:avLst/>
          </a:prstGeom>
          <a:noFill/>
        </p:spPr>
      </p:pic>
      <p:sp>
        <p:nvSpPr>
          <p:cNvPr id="6" name="Textfeld 5"/>
          <p:cNvSpPr txBox="1"/>
          <p:nvPr/>
        </p:nvSpPr>
        <p:spPr bwMode="gray">
          <a:xfrm>
            <a:off x="0" y="6038403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console.external.otc.telekomcloud.com/</a:t>
            </a:r>
          </a:p>
        </p:txBody>
      </p:sp>
      <p:sp>
        <p:nvSpPr>
          <p:cNvPr id="9" name="Textfeld 8"/>
          <p:cNvSpPr txBox="1"/>
          <p:nvPr/>
        </p:nvSpPr>
        <p:spPr bwMode="gray">
          <a:xfrm>
            <a:off x="0" y="930513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github.com/eumel8/ansible-otc/blob/master/CONNECT.md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pic>
        <p:nvPicPr>
          <p:cNvPr id="3074" name="Picture 2" descr="D:\OTC First Class Operating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94012" y="884660"/>
            <a:ext cx="3656913" cy="5045741"/>
          </a:xfrm>
          <a:prstGeom prst="rect">
            <a:avLst/>
          </a:prstGeom>
          <a:noFill/>
        </p:spPr>
      </p:pic>
      <p:sp>
        <p:nvSpPr>
          <p:cNvPr id="6" name="Textfeld 5"/>
          <p:cNvSpPr txBox="1"/>
          <p:nvPr/>
        </p:nvSpPr>
        <p:spPr bwMode="gray">
          <a:xfrm>
            <a:off x="0" y="5849505"/>
            <a:ext cx="10080625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ttps://github.com/eumel8/ansible-otc/blob/master/WORKSHOP.md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6 Workshop – </a:t>
            </a:r>
            <a:r>
              <a:rPr lang="de-DE" sz="3200" dirty="0" err="1" smtClean="0">
                <a:solidFill>
                  <a:srgbClr val="E20074"/>
                </a:solidFill>
                <a:latin typeface="+mj-lt"/>
              </a:rPr>
              <a:t>extended</a:t>
            </a:r>
            <a:endParaRPr lang="de-DE" sz="3200" dirty="0" smtClean="0">
              <a:solidFill>
                <a:srgbClr val="E20074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1 Vorstellung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Workshop Team</a:t>
            </a:r>
          </a:p>
        </p:txBody>
      </p:sp>
      <p:graphicFrame>
        <p:nvGraphicFramePr>
          <p:cNvPr id="5" name="Diagramm 4"/>
          <p:cNvGraphicFramePr/>
          <p:nvPr/>
        </p:nvGraphicFramePr>
        <p:xfrm>
          <a:off x="1038225" y="923925"/>
          <a:ext cx="7743825" cy="5581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8" name="Picture 12" descr="C:\Users\A48937014\Downloads\Cloud Camp 201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" y="141288"/>
            <a:ext cx="9753600" cy="7315200"/>
          </a:xfrm>
          <a:prstGeom prst="rect">
            <a:avLst/>
          </a:prstGeom>
          <a:noFill/>
        </p:spPr>
      </p:pic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4098" name="AutoShape 2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0" name="AutoShape 4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2" name="AutoShape 6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4" name="AutoShape 8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6" name="AutoShape 10" descr="data:image/png;base64,%20iVBORw0KGgoAAAANSUhEUgAABCUAAAJcCAYAAAG58i43AAAAAXNSR0IArs4c6QAAAARnQU1BAACxjwv8YQUAAAAJcEhZcwAADsMAAA7DAcdvqGQAAP+lSURBVHhe7N0FgFTFHwfw7+Y13d0gKQhiJ2JigIit2Pq3wcAEEZEQUenu7u7uhuvu7tvO95+ZfcfdcVwAx3Hx++ixM6/27ezsvN+bVwqJAXPixAkoFAqevGF9+/Yt8+Xt3bsXSqVSHnJjHn74YTlVtezcuRNWq1WkBwwYIF6vx+VKERoaihpv7kDWgv6XCz/u5BE063ufSKvY9+sQUwKjRi7HyFGvimF2p2ug0WKHp5tapHPVeG07shY/fnl5vIrwqXf7ZeCxrnXge/YQut3xABJNbmjizcY5LGK6K/HK1bBhQ/wwbyf+eOdx/LPZH18M6CKPZevGVsTopoKb0Q6/JCO6NvKUx1xdZGQkPDw85BzQvn17OVW58Urx+OOPY/PmzcVWijZt2iAiIkLOFSYqxblz5+Dj44Mab7BKsbA/PNzdAI0HbGYjnA67a0KVBiol+1olB+x2hxjGBrpe2bCrqfEqqxRLHhfLU7Dl2S0GMS9fjCVkHzTtH4GbmxZWi4VVFoWoNFo3N1hYPj/+Jd599934ctpmTP5kANw0KtgcCripWWWw2FwtklIDOK2soipY5ZVrbzH4byE5OVmk+fzt2rUTacLKIy0tLbexqLDcWEUpa7nNLClMkZOTU6oawVsSUrnpdDrWUtuhVhfczF9JbOx586nRsOZXTmdnZ4v0p59+KhaSy3tUP/E6P8K1uVg+c6h4FaRUfLnwP9y5+CA+nDdSDIqysX/0B7Hl58mwZJ3GM59PwT/DXNu6UQuW4UwGMGXhYaSIIcB/a07JKVKWhg8fLqeAWrVqXY7xeAzi5+cn0pxK5QoHqKWoJmw2G8xms5wr3uW9D0JYAyFey2bHn1QZPHwotlL0fHcc7v90spwjVR3bE8X58+evXik6vPi9eD0/9zvM/e5VdB86Fr+NHCWGkYpt86Gzcqp4xcUMV60UFqNr76N1vzfQoXkDkebWrl4jXr/64kuMHjUK4//8Ex+89x7+99HH+OzjT8S4kvA9jTnLD2PjvJmw2lJhzwkQQw8tngqzM1NMk19GyDZEHuLvy9bJ4trmXY2T/QXpgWWH4kV+9erV0FuBsFSTyOe3dPY8xPvtY9OsArIuwhRzAQE5TjHP2tUr5Klc+LCIdCfW7g/A6lWrEH5iC2BNB9//2jDnH9dE+UQfXo2ciLPIseqx2T8FC7aewpz5rnIrayF7VmHA2ktyzkVEiE4L9i2chn9OJSAt+BisGUfEuBD/HfC9sBXf7wgV+aJcNdBsO+QXuLu5wX/Rj+jy5hj0ua0F/njrUaiUKjRs1BBxcXEsrURMTCwaNWrEtkOubVHzFi3kJZBbZdPBs3j2wTvkXNH4l857kPPjXd/8uy1276PT66MRtORnOUequlJVClK95FYK2iUlhVClIIVQpSCFlFgpfv19JvvXidSMNNcA5uPhY/Ddv9vZ7lwwIi0m/DFsGtje4GVRLDNt5HCY7MDO0cOQKg8nlQMFmuQyCjRJkahSkEKoUpBCio0p7Fn8uASpatS1OsupgkrVo+mwxMkpUpWo3JrJqYJKHWgqlGpxXUWJFMUt6irzs+W6XuXLBEiFUWKlkJx2TB01BTOnrmFVTAOdWUJm0DacW/CT+KoXb3Qdv886uxDHZ0/AzL82QhW3RwzzW+E6B8Noi4IhdBP2TPsSiVoNW4wGxoD1ODbre2we8wlOL/8VUyctFBXLGn0AmRFbsfuvz3EuRgGFWovzS7/H1H8XiCOx5PqkZxR92sGVaPNRDd3w5oNUP9SjSS6jloIUiSoFKYQqBSmEKgUphCoFKaRaV4pN/43G61O3i/SOQ8fFK7/yZMfRcyJdXVXbSnHS33VBTP0G9cTrEw/cLV65J+7tJaeqJ+qnIJdRPwUpElUKUkil3nzwu7NURLm3iqpsSnWSTWVw9uxZ3HGH64LadJ0ddX2Kv8kXKVqViSkaN2wAWA3YvXIxToUVvpUBuXa090Euo70PUqRK3VJU1LvmarVaOVW55N4djzYf5LIqUym2b98OH5+aqN+qM5qrE7HhAuDU6/H6i33kKUhpUUtBCqGbq5IiUaUghVTqzQe/nWNFxG81WRnR5oNpeseTGPnTN+xL/AGL3+yMzEefksdUb9RSMK90q4/lvmV3E6bK3lJU6krR7oVv5FTFErZ+gpyqXGiXlBRCMQUpElUKJjU5CSny4ygJbT5IPrT5IEWiSkEKoUpBCqm2lcKW7wQdi9UByeE6M1xvKPx4qeqmWlWK5978Tk4Bs3/+Ds+/vBB39OgMN60KkdsmieEqYxwciacQtmcSJn/4GC65HqdWrdDeB7mM9j5IkahSkEKoUpBCqk2lmLDqFHL3N4KXvYEP3n8bh9PNCDeyAXH7xfB33n4L6yKBmJ0T8cnAD/Hyu+Px8eT9OJ8QK8ZXFxRoksuqxKHzHINZTlUsNbzc5VTlQudTkEJol5QUqVpViqAz++RUnn5DxsIZvw/LAxwiP275XuyuXnFlIdWqUpyPYs2jlInTAUnyEGDPyhEIUN+NGoHrEZJkwP31DejZyLVFPRoQgi0Hzot0dUIxBbmsUKB58uRJMeBG1axZE506dSrz5e3f7+pLuFF8eb16Vc37ZG7evFm8PvPMMzf0FCVRKS5duoSGQ/dD07MpMn/sBqe94FZlyfQJeP1j1+n0gSvm47aXh7I3VUGSXNth8dyofO2NyWRiy9sHTffGyPylB1ueik3PJpGnUSj08DsZBk9NJFr3fEEeljf+ar6YtRsaNzcs//lFXMpRoYu7a+JNI5chtd9DePe+JiJfGj4+PggNdd1cld/jokuXLiJd2fFK0b9/f3F/jOIqxcKFC/HWW2/JOcBsNsPdPW83WlQKXkDt27cXA3jazU0L/zgdOjRwg5OVvZZ9GQrJCavNKSqCVsMqBB+h0sDptMNhlyuHLDU1Fffcc49I5y4vMNGA9vW1cDgKfvMqpRIH98zEA499wgIcB+wOpzwmT6NGjfDNrO0IjE7GljFvi0BIrVWzdWDTapSQLA6Mmfgfvvv6UzaGjy28jPyys7NFxc2V+9mJiyI9PZ2VbfGFeCvxGn8z7gxTUe+CUxEoWHBRZKPN7wfJ71V5/Phx0SyRykun08mpPPwHJ4eUBYjgYd26dVCpXM8Hzb8t4hUiNz/lxBrxyo1cPFG8Dlo+VbwK+guYNf8r/DZlusimsb/tQem4OOMVjPn9ZyRv/xpH+EAk4fCIXnhzji+WL1rEBzBOWDJDsGqvn5wnZWXYsGFyCvDw8LhcOfh3m7u3weV+/1yxLUUufgPThx56SM6RyuhqLUVRqJ+CXEbHPkghuaFCkZXi4S/+Rd8PXbEDqR7Onz8PpVJ59UrRduC32P/P5zg5c3iBG4PEx8Xhn78ny7mCfC9dklOksrtqpbAYs/HQG8OwdudheYjLuXPnCuydvPDsc3IK+O/f/+RU0axyf0iWFdh1znUo0p4Tz/7JO0C1ZMFcOZVnxsrjiNy3AMdXz5OH5LFlJWJ7aCZOhGTAN9GIVAMQlM32qLYewrnDrueD5fpv2ixsumTCruAETJ+zEGvnzxHDV69eLV6XbzkqXvNbtXoLZqw7hjlLVmP27I3yUGDp4nmX58u1fOlC9i8/vy9PjPx6MyyLcr1+vSbQlZB9syMaOWfWYVlYbgddHAb+Og/Rh5Zg7rFweVjRrhpo8tahY4uGiEpMh8VmF7fr4b2UvN8iJzsHLVq2ENMlJSaiUePGIh0dFYWWrVqJNKmcDh06JI4LFbn38feqfbi/ezv07uSqAKTqK7FSkOont1LQLikphCoFKYQqBSmkyEoxePhC/P3vFKSw9N9jZophE+a7zn7atOBPZOsScTTGDFPkPnw2bocYni4//G9/jBU/DBsOflTFr/Rd7qSCoECTXEaBJikSVQpSCFUKUkiRMYXksMChK7mfnFQu6lqd5VRhJfZo2g3hUKjd5BypKhTwhNKtjpwrqAwCzaKvKygL+c8ZJOWrxEqxbOQwJB+ZjtUTRkBSqpEQGYY49uc0JWH+uP+wd8pI2C0mzFi0BxsOpkDJvkyVNhPTp23CloAM9gYOLBr9LeaNnC2Wtz9ahWSDGio3LWLZcqbP2I6la88gLjoSBo07m9cTTnMalo2ahJVbImC1O2EM2orQtSUfmidFC4+IllMlo81HNXOTNx+kqqIeTXIZtRSkSFQpSCFUKUghVClIIVQpSCHVslK0+2iKnALe+WUa7vl6CjJtrp2wPh9OxOnMinnT1vJSLSuFJT0DX605K9INtHZ0vPdBXMx2XThTt3EH7Ais3qeLUT8FuYz6KUiRqFKQQirt5iMrKwteXl5yruKIi4tD69at5VzlUuJJNpUFfxhgTVeyQggLC0O7du3kXOVSZWIKT2sWIIVjzQzXbQXIjav0lUKjrcU2gm3x4kfvyUPIjaJAs4xV1k1HfpU2pnA4HOKvorkZdwcuL4Xu4k/KRmUONKvOLRMlG+J9j2PNmtXYeTrq8h2n9obY5RS5VtRSlLGq0FJQpSCX0R13SZEqbUvR5a0/in+U0C2iy8pAzKa/5FzlQi0Fc3frGlg/fQT8p38M/nCj6SP5k4VIta4UxyNzEBadjC4fT4daBXw8Mu+MrOqs0m4+Xv5xKs4EyPchrkAOzPgezRrWlXOVC+19kEIopiBFokpBCqFKQQqhSkEKoUpBCqm0lWLdwQtyqmIZu3iXnKq8Km2lGPjg7XKqdBzWvGeb5yl+b9xiufbD7ynZejlVeVWbzceKY5EIYHXAKVlE/qtt8exfBZZ99zYc8QfgMJ7HsFcHwRi1B+HLvsfXb76BV95bjWxT9evGoc6rMvbVlHX4+9OBcq5yoR5NUgj1aJIiUaUoY3zzUdlVi0pxdP1MTN0VjQNZrvzbb/4uXt8ZOIr9y0/1zcYLTz6JRAMLRPmIjNM4vfAbTP18EN4c/AEfUq1QTFHGKNC8haw2O8zWincafw0vdzlV+dDeBymE9j5uEgo0KxN7CLIuFf7Cfn79Hnz4xRhEyL3TH47Z5Eowe8f/T05VL9WnUqg7wL1JD2wcPwDHTp0FJFctGL3kGIYMeRH15adYzPjxWey+FCPSXQe8K16rG4opytjXbPMxqSrtfZjNZsTGxiJ/PVEobu5joUqrffv2MJlM4p5SFXX9dLq8+2+qVUrYHaLX45bjZeTt7S3nSGWwc+dOWK1WdOnSBRcvXoRarcYzzzxzy+p7gZCCNxJckx0pqPnWTjRaFw+n0wmV1gGFSosaPm6Yv9kfx4IyEbJlLQ5EswWw9Z45YxqUatfCThxJgrcqEaMmz0da+GH8s+w4G8oqqjkEP/35L3JCjmLkN0uw90wM4p3usKQcxbppS8APUPsnFrzR7T///COnXBdz80aCa7ydrd/rO9D48vrZL6/f3C3BOB2Rjc3zVmPT6WSEn9sjCjcoIREnQhOx+eBJeHmYcT7HirOZVtRwt2Pu1l1YsnU/tqybiKUH0qCypSNelww3rQbLZv4h3vNqrly/XJ0Gf4+WT7yPd8avYu/NGg13GybP2IRIHw+knl+K139ahUV/fYuJs8/Dna3zzEeWscJTY+KuS/Bf8Qfe/3M0wiQfqFQKHE/IgY/5iLzka/Pqq6+KV96w5jZifn5+CA0NLfRHKiZ/f3/RSJSFDh06yKmiOexX7/q7HFFUhsrCW9iKePMg3hA1btxYNFq5lGyYM1/kUxHwiKxBgwbIzua3mSyIV8aKeFdSUjEo2D5ImdXmtLQ0+Pj4yDlCSHmLj49HmzZt5FzZKdBQvP/++5g92/WU4StFR0ejZcuWcg6YMGECvv32W3z99deYPHmyuHXh8ePH0b9/f3mKPBMPX8DbvW5HvdJssKRUtlb1MXLpLHRwhuPVN8bJI1y2b9qFNvUt0PYZgNYiIuPP7LiDJ65JUsARNOp8n5wjpPI6e/asiAh79Ogh8rm7mW5ubjh9+jT69OkDi8V1snqubdu2oXPnzmjevHmhx8crla4eifwRcoGGgk/AZ7LZbPIQFx5a5+9A5PiwP//8UzQUGo1GDCuqobgRXebvgf/QfiLtTDgFZZOuLOUp8mWFt8JNmzYV6enTp2PIBx+jDj16n1QS/AfNf4/8j8ttKPjGm/9uk5OTL9fvXEFBQXB3d0f9+vUL7XLmNhz571usYAutWDvShJAKh46ZE0IK4edP8MgiN6q4rjOuQmJT0PmN32GyFNxFIYRUDXx3hh8l40cauVJHFHe8+wdyDCaErhiNR778F/smf467P54EL3cN3LUaDHmkJ954vK88NSGkLGw5cgFbDrkesn2j+C995o+lO904IiLi8nlL/BmDvLOjVFo/+4XU8pnPRLrvkM+kzk+/K20/dErkWXQhdXv7D5Ee9etI6a4+d0p33tFb2rB+vTRtyhTp0YceloZ/PUy6p+9dUp9ed0gpycnS4IGDpN49e0nvvP229MC994n0fXffI8YPffMtsawb5evrK16jQv3Fa1pinGRnrzvPRks29urv5xrv6+cvRQcfk1Kz9CLvFxAsSU6T5C/P7+sfKF6L4uvrJ0UcXM1SVik0JlXSJYZLksMqxvmFRIrXooQE+IlXP/m9UuLC2L8Wadcpfyks0DXOzFY6ITxApEPl6TOTYqWEiCDxeYqybNc5KTQwUIrNtEuRoWHSLr9QKSXHzMbYpMj4DCk6PEwyG7PZe7uW6XvJV7KkRkj+ESlsvoLrVZSoEFfZZqSlSHpWqIvW7GQrnCkl5dil0LB4yZAeL8pXspulkNAoycmm9fV3zeMfGCpei3KJrZcuOZqlbJJVly7KWXLYpOAA1zoFyt9fRk6SNGPWQpGuLGIuHJVTeb5aXbisNx44I17/mDRdmn8xRaTzSw06IqfyfDB5tZQop6/Ey780wsPDpYMHD4o/0Y8pDy9Rk0fflho9/Kacy2OzOwo1FCxskV5/5VVp86ZNYtiEceOkLz//QqR/GzlSevftoSI99K23pPfffVekP/nwI/H66Ucfs2HvifSN4kd0HOzVZNCJfJqe/0jYz9BmFwWm0+WIfI7eKF4tVt58sOF6A/uXz+mSo3M1IEXJYQVpt7iWbTS7lmG2un7COoNJvBbFoHetW+66cFZWpno2XM+GmSwOySF/uza2SkZ5elbE7HMVv15s11AyGgysMWB/JpNktbEfnPyx9EYzG84+t9O1vpyOlRfHxxnlMssdVhSzvA5sldlnt7L5WJ4t02SxS0a2nLDjm0X5SM785Zn7mUso1xzXdCZWlpnhZ0SFlWx6Vi6u4bmvvKStJtd3WJlM3h8uzffnda1ouQ2FWe8qK6fTKoXsXiQZ2BdpsrsqRnxqtmRJ2C8lZrqWxUvaYbOIdArb+OXWf+56G4pr6sxMSM/GY18VfOQBaygQsuwXOUcIKUuv/zwNmw6Wza4HvwFkzuG5cqZ4V+560FEPQkghVzYU1ec6c0LIdaOGghBSImooCCEluq6GYvDwheLVmROJ1efjsXD5Cnw1ZjZgScSRGPkutkyBzo+0U/hl7gmc3zxL3MR2xMh/8O/oESylZ/PFYc64WTiZYMBfW/3F5Fc6EOa6044+6jTmL5yM7QtcT4reOXoYli1bKtKEkJuj0nVmZkWeR06DnmhBt04g5Kap9J2ZtVpTI0FIeaM+CkJIiaihIISUiBoKQkiJrqsz024Ih0ItPwmDEFKhKeAJpVsdOVc6dGYmIeSa3XhDoVAiUZ8FR3Y4Nh3wx6L5W7B1+hhApcGWhRP5Dfgwd9yXYrp5435jb2jChnV7WSunwN/fD0X0qR24GOW6x9/8cV8j58IaRJ/cjK1z/sOq1XtwOsYCJVuGKuEQ5v/5rZguM/wUDlxMwvptm0V+wfhhUJliYM+Kxe7ty7Bi4iwsXXVUjEvSqHA0ToVV/40Av2eoMWgLe5+RbJlOLJyzDpOHD0FOyDEc9U3C8kUboE/wxbGQDDHvqik/s8hJhfl/jUZW9F7M/XMEJn/zMrZPWYCtm3chxsyiKqUaVrsTfuvGYM74CUgLPIy9y6aJ+Qkpb2HhUUhLL/w4hhtVIXc9ti6aAnPd3hj09F3ykNKJProa+y7kYOj/Ct6cQ6VV8zuFsv9v/ikjh1dPR4yjDV57+XF5CCG3VlnselAfBSFV3C1rKCSbDnZdpJwjhFRkmjrd5VTplUlDQQip2uioByHkmlFDQQgpETUUhJASUUNBCCkRNRTVSPvBo3Ds/CW8PmMPlo4fLw8tXqb8Sqo3aiiqkdDVv+Kent1xJiAKPh4WWOJ2y2Nchq71Fa8H0oziNdcTIzeJ19HHUsUrqX7o8Gi1JiEuU489yxbg7f99Jg8jhM6jIISUAp1HQQi5ZtRQEEJKRA0FqfDCwsLkFLlVqKG4xfi+oMOaDUt2OKyJJ+F38jCWzl+JXRfT5CkIufWoM5NUeDyiaNeunZwj5YGOelQA2dnZMBgMco6UpEmTJnKKlBdqKAghJQoPD0dsbKxI9+7dmxoKUvGFhoaiffv2co6Uh5wc17N+c1Fn5q3G2unDkSY5Uzp7Q+xyqnpQKBRyitwq1FDcauxHcH9rD9gdDpZxBXd2e8GGQHLycS4Ohx2PtFfLOULKBzUUt4DT6ZRTedQqFfvXteVUqws2BAolH+eiUql521KtKPlzFsgtRX0UhJBCruyjoIbiFmgz8HuotO5yjpTk02fvwhevPiHnSHmghqIC6PLWH6IT81az2OxQKxVsdyZv16Yi0mVlIGbTX3KOlAc66kGE2x8fhAaNmmLkV5/j7G/9cGTRt/hnSAecHDMQdgeQ+WB/mMyd5KlJdUcRxS1QUSKKyoIiivJHux6EkBLRrgch5JpRQ0EIKRHtetwCGRkZcurWq1PH9ZRrfi5oQnImmjesLZ/2VTHXk5QP6qMghJSI+igIIdeMGgpCSImooSAV3ldT1skpcqtQQ1EFPfHaN+L1oh3Yd+AonJINxw7tFMOmffcVHn37d3w694zI807MUct9wR8ieHHVP4jeNRarpnwnxn0z+5R4hSkRWxZMgD1iB6b9/DGW/vY/fPHs7Rj4xlKMmrERMTrq5qrqqDOzihvx488YO2a0nCsbaYGHEKLsjHs61pOH3Fw8ovj704FyjpQHOupRAYxdsgvH/SPlHCnJkp/fQg1Putq2PFFDQQgpER0erQBct70jpfXNtPVyitwq1FDcAq7b3pW9SxunYOa2czganCIPyRO+/nM5lScox45XvpjBUiyoTDrqGsi8+/ogvDjo6n0CI94dK6cKOp8uJ24Cu5OC3luNGooqZP2+S7h4+gxOh+vx6bCfsD9LHsFYdUn48Mu5+Pp/r4j80x16oZ31BJb/8xEfi4hMK3t1zZCU0hRr1q7DJ8N/wxI/B3766Wc4jXEY+dsfSEs+h4+Hj8G+RX9i3JxdmPvHt5h9IAwWJ7A3TCfmJ1UP9VGQCo+OepQ/6swkhJSIOjMJIdeMGgpS4dEp3LceNRRV1OHNC5B+agEG/boLx6YNwFf/Hsa7n7tO7YYjyvXKxGwbgSW+Vnz36st49p1pmH3WhFgjMHN/DJBxApbo/Xj7y5E4lf/h6/qT7B8LDv79FXulp7JXB9RHQSo86swsf7yP4p9//sE333wDq9VasKEwm824ePGinKs4+vbtK14r+vrp9XqcPn1apCuShx9+WE6RymLz5s1yKs+AAQPkVPkq0EgEBAQUfuZlBXjIpcViQdeuXREYGFjoQTUVYf14a9ulSxckJCTAx8dHDOOrVVHiNH9/f9x1111yjlQGuY0Ebxjyp2+Fy30T/MnZGo0GLVq3RIf2HdChg+uPC0zWi9c8CkiKgt0aaqUD644Eybn8FPhj7J9QqJVI9V0shpy/KF+2fIXEmEj2w3L9svgDaXMbAHd3d9hsNtGAtWzT6vK65a5fUFrB/eMDG4PllItKyy+eBg5Fm8WvV6FWQaVRiadjcfacaPHKnQ88L6eKl3/93NzcREPGGwg+xNtdi0e/mYOkTFe5vfjM01BKcWwe1/T58WWo2eC//vcKwg/vloe6qD2u/zRHvn65D/Xt1q2bePXz80NoaGihP1Ix5W5wrvYw62vx9NNP4/nnn8eaNWvkIVf32eef4+FHHpFzeS7/0nkFEthv1BacAsmadw1CltmGZesPYcve0/BSJYhhDkMCLq74AwqlDelWLXYvOIEhj7bG5A0X4B+bhInff4UcbS3enGDgfU3x15T5bJ4oTFm0HDnx/tCHnUfcuW1IltzgYWI/atboNG7R+vLml0cMBoPrx88bjj179oi0WL/QNPZP3vplm+1YvOEYtu0/Cy9lHJKcSvZDdYgf4KyNp9miTTildyLVAsSfXIzTwfE4fS4c6zcdx4qTOmiVZig07uxL0SIjOwNbFkyCr0GJEd//iTjD1b8gvn5Go6vx4et34sQJkc42soaI/Th/HHwn5mw9LobV6tQHDrUeqzceQYqHD1TOHBzOykLA/JexcOtF8ZGfeelZZBjSoGQVQ5W0DZ/+Nh9KtQVjn5uCqMu3uC093uDrdK6zI3klCwoKQvv27UX+SjzSIBUP//54FHGjT3CPjY3Fhg0bRJ0oTlh4OLp36y7n8lze3cjdojRv3lxsuR2pBqjqe4nhbm7usFhtbGIHPA1BMHjxR8spoFRp4HTwU31dNGwLPfd4It7s0wBarZqF4fw2KOw3o1KLH5XdIbFpFHCwqMXpcECtUrJhTva754XgFIWR22ry6fmq5eZ5pMMjiRYtWogttyPDBFUdj8LrpwuApXZXNn3+HzdbV7Zs3mCZbBI8PFhhsU/t5O/tZOvIGiitVgMNWw0zW2cRIShVbD0drvFXkX/9+LIbNmwo8nzWHu//w14l7Br3HurX8oanlxeMBhPcPNh6moyi3BRsuU6lBqxURBnwacxmC7w8Pdg0JtF8Wy2sjNxZmbDXa92W8LLi6+OQLzjju0R169YVjQVf9/z4523Xrp2cI6Qg0UicOnUKtWvXlgdVXLxj0NvbW85VHHxL/Oijj8q5ios3GnwDYOKN0BVq1qwppwgpSJGWlsbbCTlbsfEtXkVcVx7ZVAa87HjfDiHXQpGTk1Nmvzq+D6XVauUcIaS88V3JK49Q3qgCjQRfON/3v9LVtuB8GJ+e75Pn7vfm9sZej7i4ODRr1kzOEUJKi/c35W6ck5OT4enpKdL8t8kjx6tFutcSlV/uNuUnKvE3uxq+sNwORI531CUmJoo3Gjp0qDw0z9n4IKz12+/KSJnsn7zlDpq/UE4VlHsl2upI8VK8hLwTTQoe7Cy9nGvtCSSkAuL9dMuWLROv+fHfK+9n4kfgco8S5uKBwO7duxERESEPKWjHjh1yyuVyI7FkyRJ4eHgUOkzCGwL+l56ed8yeRxBNmzYVjUrPnj3loXkenPMphqz81ZVR1IYzww+95m9z5Zl/l07Fi8t/xMXD0+Qh+bAf74krd5ttWchkwcqltXPhyDwNWHjkkohx/f6AiU3L7wJvMUSjR5O3sSfJNYs5bq8rwfy4JgKTxz0n57LZ8tJRg33y2BwbzmxdiYyoI/hvgy9WH3WdL3GJ7qtCKgnekf/yyy8X6tDnEURMTMzlo4H58dMJevXqJTqwrxYYJCXJPyJZgd2NefPm4Z133pFzeVJTU1G/fn0555KdnY3Vq1fjvffek4fc2O4GP0+Dn1VZHBPbEwpNyUL3JrXkIddnt18SHuvaSKQdFgNWLluJV4fyz52IGdPX46OPPxHjCKnoeDTQpk0bhIeHo23btgV2N3h0wRsIviuSf9ciKyvr8kafz3OlcePG4bvvXM9r4cq04/JGGglCyI1LSUkRewRlSaHT0SObCCFFK3CBFyGE8CYh95R+7nLHJSGE5Jd7VIQaCULIVeUeMbmuRqL722Px/I+z5RwhpKrhh0b57Q/46zU1EjEp/MQowMn2WeJY+p5P/sZR36ufkEEIqbz4Daj4n6+vb+k6LvkknV79FTO/fR0P9eyAC2HxOO4XgVX7zotLwvm9VLZPoHMLCClrH46ZC8W1307kqv435HF0a1vypQ/893748GGRFpdc8EaiJHqjWWo/6Dtp75lAeUieJ4dPkzq/8buck6T+j/aTU5J09OgR6e4+d8q50jt//rycIqT6OnYxRE6VjTd/nianiud0OqWDBw+Kv3379kml3t2w28xg84p00wdfwZ0vfSbS3p4FT/nkh06efuJJ7N65Cx9/8BF4M/je0Hdw311347FHHsWxo0fRo2s3vPDsczh54gTuu/sePHT/A3jz9dfR75FHxH0s/xo3Xl7aDbBmIyo+E5GhUQiOiEVWfBj8A4JgNUQhMyGGNZEmRKfokBodBn7zqVnLdiA6SYfkqBDwk77jkzKQkGZEUkxosTd8MWUmIMcqgd+sPijAdYcnsx2ITMpCfGQIlk9fIIYVJSQiEU5LDhIyTYgNj0RgSDhObFos3jMgOAz69DhERMQgKDxWTB8cFoPMxEikmwG/wBAx7KrkmwFJVtc1MZb0GPjLdx8LkF9To0OQkM4+s94ByZSGNFYQc6fNFeMCQ9n7SUZRRsUJCApjZRAHP79AhAaeRI7JDj9fvnwJYaGhyM5MgplVm8ikTCRFRiAjPlxcyRMTGijmL4o+NRYGVq68fz08OhVpOenIMjsRHp+KyES+2+tAeGwq9MkxCAkIRlRyvoeiVmCvfToDs+dvQ8aVlx44Cz5F60pf/LMI67flXWqQ61iqE+PGT5dzQNbZFfhs8mo5VzZK2UhIcNgscppfjqqE3lj4xiUc7xHdumM7Rnz/vcjzSGnO/Hnw9vHB7n178ftvozF/4ULc2fdOTGCNQYcO7XHg8CFxltieffswetRvYr4bNWf+OlzYvRJHdh9Cxzb1EXdxP7p07gSnQoWwUwcw/0ACWjbwwYFwExYuWg21T1PsO58A71YdcGDxdJwMSsahNSuREct+uIlX3uMzT7SlAWpoFdCy6typcxdMX3Ua2exXcNQ/HrVbd+A3wCrS3Nlr0aFNY+wIyUIDawzOsvJp2SATbRp6I2DvKvhY4pAUdBT79x5FM90ZzJ8+FZfOn0Sc/xHUdQfOnzgoL+lqFPhv4TYoslzXo/Drb7p07YrwLCP8WUO8+3w06rfsgIuxDmxeuQjzN+zF/m1roFVoMWvKTPhdOCEamr17joj5r2bd7H/h73seutiz6Hpba7S/rS1qZJ5DYFAg/BNNaNe+PQye9XFs1Xzsv5SCE7t2ISspGpeijTh5wQ+rVm2Sl1SYISMRxwNikcbSh04GI8LuhsTj67HnTBRaumVjwerDaNukJtKDT6BD545o1fDGTtUvL0unfARdUDAsCtf38s20eRj1wwqRnvntv3jru3kifaXeNYFToWzjxhj0bMOid/UF8vu0atRqnGI/x//O6aFQqZGUngNflj8dEYetlwLZ93GDtyeUI4xi6Ywmqcmjb0vT1x+Sh+R5+It/C+xu9O3dR7z2e/gRqXuXrhKLFET+8X6Piden+j8usQhDpAc9/4I09M03RfqD994Tr68MeVl6/eVXRPqG2C2S1WySFk1dJBnY7tKlrbMknc7AQim7GM6CKslkdUgmg14ymsySycheLTbJajKI2c0sbTIaJTMbXhwnex+7k70dS+v1OjHMoNNJJja/hS3LzMquOAaThf3rkCxsIWb2fk6nleXZAhmTmS3bapKMbBlOm1kM0+kNks3iWmYO+zxFcy2D/8t3F50Ou6TLca2fnq1fLovNyZZvZKvAPi8rD/5+HH8f9uHEsOLodHo2K1831/tZ7Q72PjkizcUZ2Gdir0aLXXw+XiZcSeVqs7jmM7AyNZmt0snULFHOMzeeYmXLS5st02xjX7NrfY1smsomO/GsnLq6/Lsb8WnZko6VZWa2XjI42XfCvhvOanKV4+E013fqsLrqCftapaysbJFOznB9H9e7u1Gqjkv2fuj21h8ibbXbEbLsF1wKT8ArIxeIThW+iIDFP4nxPMTMyMhgkUJfBPj7o3OXLmIYn6Z9hw4IDQlFrVo1xW4Jf2d+k4xWrVshOjoaLVu2FBesKNh/rdu0FssjpLo6fikUd3e/+s2Lr8dbv0zHwt8+lnNF47/V/B2X13Ra9sNf/ouUjIL7qEMe6YVf3n5SzhFCylKN+9917bOXga9efQqjPhok54p2Q41ErtYv/Yoa3h64OM/V70AIqTrKpJEghFRdVzYSdO0GIaRY1EgQQopFjQQhpAB+Tk1+1EgQQgq4spuSGglCSLGokSCEFIsaCUJIsa67kRiw+gJe/mk2LCGHMXzNceyNMeCzsUVf8bj6Ypx4/faHP7B70SSWcmLszI3YeDoVu4PS8fv3w/H+22+JaTgp3xPDArb/I17/2RmE4d/+CMOFZfhx8koxLDv+BL4fOVmkCSFl7/ojCZUGy35/H0qHDjXC/LBweyD+G/G2PJIzyq+cCbVSAnEiIRvjR76Bc+6PIPbCZgxpEwf/qHRkWxz46c+JePuRHvL0wIUNvCFxsUg+SDy7BhHpRkwcPwZ2fRJerM8vzgbspiyMeKqeSBNCyl6lO+NyxbKlePnV1+QcIaSsXXnGJZ2WTQgp4MpGgjouCSHFokaCEFIsaiQIIcWiRoIQUixqJAghxaJGghBSLGokCCHFuq7zJOxZAXKKEFKRKdxqQ+XRWM6VzpXnSVxXI+GwuK7DIIRUcAoFVNqmcqZ0rmwkaHeDEFIsaiQIIcW64UZCpVSwpajkXOmoVEU/beRqY/hTvkoi1qMUrvzAKq1WTl0//mxUQqqqG67d51f9gmmzN2HBxG/YD84JlUYDaFTYOWsS5k1fjqzIMzgdmYPzG+Ygy6rA4onfYuPeGKRHHMDRKCfmjx8hlpMRfAJ7TkQgjjUI8yaNhVnSYcGEb8S41VP/wo49u5FsFlnMn/AdVDlB2H8mE5IlC8sWbsaWCwmYO/57BOXUxJoZo8XNPJOPLoJS54+l06diw47zYt6t+9Yjy6LA6n9/gEIXjk0bz2Ieex+l04hVOwIxb/wXYjqlwopFs5fj5Jo5SDMAOzZtRUZGPDZuuAhj5hnMG/cttkydAv9t/2LRigM4tm4W7Aq27hN+QRZuvOEh5FpZbRIyM7PlXNm58Y5LhZI1DqxhsNkQo3SihdINDtix6c8xaNdJg0MRTfHMgLvgl25Aj4Z14dmyFQ7vCcVzj3UETPGAewOYWFPl7lRg9shv8cTIH9ECNaG3psFTXZv9eB2YP24kOn8wEsGnYvH6E83ZD1gJvS4QHl5sGSx9bO43SOz2OV66twUupvqgW209HOxjJe+dgmZ33MMasSPo18uOto98gYtGB47N2IhHB9+BujUaokF9NSSHO0wmPTzd3BAbEY66rdrDb8lY9H5zBA5EGRC+aAHu+fAzhPhG4YWnOiAnfje8avfGmomT0b6dA8ez78DH7z4Ff5MR3Xy8kWpToQ7ynsJOSHnIyMhGjRo1odEo8m5mWwYdlxXu6IZCpcHm+RPw7FtfiQcVX4tNSydjwJtfQeEoON/UP//F/77/XM7dPAqlGpsXTcRzbB0czmsuVkLKXlVsJAghZYgOgRJCbjZqJAghxbqu3Q1b5iUWk8gZQkiFpdTWhMq7pZwrnSt3N66rkSCEVF1XNhK0u0EIKRY1EoSQYlEjQQgpFjUShJBiUSNBCCkWNRKEkGJRI0EIKRY1EoSQYlEjQQgpFjUShJBiUSNRTUjZsVh3PAiD3h0p8usCUsVrce4aOlpOkeqMGolqIjGK38lLg7VzXY2EpHXHzDGTsOPIOXR9bwIyjq/EryuPoMuzP4vxl+WcxFczduKx1123GSTVDzUS1USTHv3xZPe28D+8QR4CHKnTG0/c1wsaOFhOwqgh9+GTJ2q5Rubz90ePY8KrveQcqW6okagm9qyYjy1ng/HbogvyEKBjxGEEhMXALKnlIYQURpeKV2PvfDIJE8e+j2FrfTH/nXvkoaS6u/JScWokCCEFXNlI0O4GIaRY1EgQQopFjQQhpFjUSBBCikWNBCGkWHR0o5zl5OTAw8NDzpGSOJ1OuLm5yTlSHq48ukGNRDmLj49H06bX9tg1QsrTlY0E7W7cQuEBfjh79qycy0dyIDI4UM4QcmtRI3EL+Z47g9q1a2P6sm1YuP4gjoTZxXBJkYXAc1dpPAi5BaiRuIUcdjs0Gg1qtWiL+s1awmKzISMzS1xuxccRUhFQn0Q5oz4JUtFRnwQh5JpQJHELJCQkyClSEqVSiUaNGsk5Uh6ujCSokSCEFHBlI0G7G4SQQvhJbPyPIolbxGq1yilSEoVCIY4AkfLDmwSdTifnqE+i3NHRDVLRXdlI0O4GIaRY1EjcQhuWLkLsuR1yrpRMoXKCkPJBuxvlLP/uxobF8+DRpCOchlRY6nSELTEQT9zdDpGmepA8bcjW21E36iS6PP4iti9ZDafKhqcH3A14dxTzE3IzXLm7QY1EOcvfSPDeY34egOR0QFIo4XQ4oFarwb8QiY1TKHjHnRIOhyvNp3Wyr0vJM4TcJFc2ErS7cQvxHz2nUKrED583ECLP/vg43kBwKpXy8rTUQJDyRo1EOaMbqJDKhnY3CCEF0O4GIeSaUCNBCCkW7W6UsyydAX3enyDnSEkUkBCyYpScI+Xhyt0NaiTK2fTVuzFl8yk5R0rDf9GPcoqUhysbCdrdqKasNjvsTkmck3ElCxtHSC5qJKqp/SMHwWC1wOJUYcJXr6GG9T78/f37otE4tfRbnJv0IcY/WtM1ManWqJGoppZtPYW4VcPhWacOPpq8kTUOTnw6ejps8vht62ahT9+uco5UZ9QnUc4qWp+E3abAhj/fxaCf54gzPSsi6pMoX9QnQQpQayS8WIEbCHLrUSRxC7R74Rs5RUri7qaB34o/5BwpD1dGEtRIEEIKuLKRoN0NQkixqJEghBSLGglCSLGokSCEFIsaCcJISEpORVZKipwnJA8d3ShnZrMZRqNRzt1a/C5ZXl5eSI2NQv3mzZESHYMGLVuLcRkZGeK1IqhTp46cIuXhyqMb1EgQQgq4spGg3Q1CSLGokSCEFIsaCUJIsaiRIIQUixoJQkixqJEoZ/GpWXKKlIbOZJFT5FahRqKcrdx3Tk6R0vDxoCee3WrUSFRBOr1BThXPanPCYeNbakkcG+fynzRjMenlFKnOqJGoYqyJp5BuUyLn+L/4/ZN38Mr9ndDnqY/x9og1rvHIwqE9q0X630+H4J1JG7Fj9LN4aOQK/DprPcbM24aT6ayx0IXCzcNbTPfZz/9gtV8Wxi/aghTWimzZcwiJTjYi5TTmj6Mb6FR11EhUMWmxsWjloYfWzR0XsnzQpE4t3HnPy6gZsVuewokH+g0WqeGTx2Lhdy9hbp0f4KlVo1WPu/D60KfgH2uFwqcdzkVmYcCQ8Whx5+M4eyYMj/V/AkHJNjzT7wFxuzv/nRsw9LufxbJI1UWnZZezSSv34eshj8i5myvi6HpY2z+BTg085CFl44cff8AfY+iWclXVladlUyNRzsqzkSDkelAjUQE8O2KmnCIl8fZww7Jf3pZzpDxQI0EIKdaVjQR1XBJCikWNBCGkWNRIlDM645JUNtRIlDO6doNUNtRIVCHPPz8QsKbKuYLyn6j97hu/InLHJJay4ez2dTDbnNgSlHdPy8EvDkaOnC6NpNMr5RSpiqiRqEIUSgkwJmLme88iet8/eOajX/Hxi5+Kcdp8V2X8/UktzDrZGKfn/oA9O5bhz+3JCIxIxteTd4jxNWrWgLdND1PUOnzz8nuIDY3ART3w71kD+NnY0TqrmA5IF/9KdhPe+mmJSJOqhxqJqsKRg9at27GEE0O+/hhbz0TCXLsZPByFv+Iad3+F7359BWMvdoDNYsapJT+gWdN6LApxXZY9d+5cOEwpWHU4CN//+CwmrzyEJaN+wAvdvDBt0lg099Hi559+ZVPWZa8/wmG34n9tLoh5SdVD50mUMzrjklR0dJ7ELUYtMqlsKJK4BXIMZjlFSqJUKsSp2aT8XBlJUCNBCCngykaCdjcIIcWiRoIQUixqJMrZ5FX75RQhlQM1EuXMSV1ApJKhRqIKeuX7uXjpjQnYF1H4btdbfh0gpzi7+DfBCozdHsFSwYjc9JsYxp2a/xXO71oBW8h6jBv1KZ58a6o8xoWO0VQP1EhUQYt/fBYWtQYenl7ykNzTqNkXrtbit/WB+OrDv1hOjZMhx/Hp0H8x4sk2/B76UKjUQOZ5Me3+lj/gj7mboZZM0OVkw91Ni3FPDsScs2n44vctovJ8Mu6omJZUXXQItJyVxxmXASf3oHXfftAZJezfugFDBj/Hhrq2B/GXDiC1Zg/YEhPR567O2LznEJ7s1QTqOvyUbiA5NgANGzQE3OqK/OpNuzHogbbIzMjEpWQf1DMmwCRlQ9XwDtRQRqJ9l/vFdKTquPIQKDUS5YxOyyYVHW8S9Ho9Bg8ejFWrVtHuRnmjswdJZcAbCt5AcMVGEmfOnEHNmjXlHCmOzWZDu3btoNVq5SHA6dOnUatWLTlHinO18tu3bx/69u0Lp5NfoE6Kk56ejsaNG8PNjTZChNwsO3fuhNWa18fL2e12qNVqOefyzDPPQKHgjzCrPooMJvz8/C43TC1atoDiUAycJhsUHlpIBgsUnlq4PdYewcHBUCppx4UzGo3o2rUrVCoVfH194e7uLoa3bNUS0oFoSGZWfqzcJD2V39XkL78jR47g9ttvF5Evp1K6fph3fz4Nwwc/gMEPdIfN4RDDiEtMTAw6deokyo8LDQ29XH4ladKkCby9XY9/JYRc3ZXBhMlkQs+ePREQEFCgHb9VwcTChQthNrvOT3n++efRsGFDkb5Wa9aswYsvvijngIsXL6JHjx5y7uquuhULCgq6vCHkeHNkPh4N9wGdkfXzdmgfbQdV+3qukTKV1oHj0ZmutGRCUEgYJFa4kiUDUclpMFt4w69AyJa1cMCJ7Mx0JGQVPilHoVRj345lcNOo4GZNwaFwPTLZFxYSHsPGKZGTHIV4Np/DZkRaYiRYfCPPp0LI0SXwcNMgNTYCaXobYg+NhJI1rPERITBIGuzdvw0aWyacbFhyTBiSsyyQrHpkJ8XCzPZ+o+OSxeNw+XqGXYq6XBmkfHvGvKFevHix2JNesGCBPNTF09MTly5dEuXn4ZH3FE5efpaTMa7yG7ENbv3aQ9W2jmukTKW142Rctistlx+rnSwASUdUSjrMVgeycqzIzjYgIoxtJBSFvzq1ewbWLPsHarbhDdq+Gmv8s2GwOCE5rNBF7kO6XY3Nf89GnNEdixZcYN9NDoLColhUrYLekIn4mEuINNZAEitfkyEN4SGhUGo9sefEXth1KQiOiGflrEBWYhQSM42ANRshkUnX9KPh5bdo0SJRfvPnz5eHuuSWH+/R6dWr1+UNod5oRpc3RkPDov9VP7yEQQ90w8tjlmLUol3svcUk7LNbsStJwuZli6BhZWl1ZuLX0ZNhZZ8xLvw8ss0SbPpUHDtxBmqFE2nJiQiKMyDozClY2c8gPSJLfPfGxDO4YHeHimWMuiz2+dU4e/wkYjKzobDrkBx9CWk5rlPRtD4JOBqVg8yoVJw46y/XnZuL7wENGzZMNGhfffVVgbJv0aIFzp3Luye7xcKCVja+NH9JSUmiYSSElB5v53l7f707hJmZmTh8+PDlP74Tdb34xv6tt97Chx9+iOPHj9/QskQgwdpf3jZwJQUSXKESCAsLEw1+gT0atjzLgXBY9rENHKP0ckPGK0tFOj9DTjayjRYsWbATzRr64MCZWExedwl1nTE4He06V5hvmJ2GJMSiGUynf4G8wym6t3lScjrQnH1BwYlZOH3gCLp1bIAJa06gnjMKcZkmbItWoJ6nBpkxZ1GnVSesXHxEns8Jh90OlT0KYSYv1HBjG2KnHfq4c0jzbA43hcQ26hJWrDwGe5I/Iu01EX9uA1SpZyHVa4WTG7ejbT0dCzr42kioW8sAM9vgWc0sCpXXMRfvdufre7UKxPfuoqOjL38JAkuaWdlZDvFzoFnWU4uM15aLdH68/HKMViycv4eVnzcOnkvA3+sCUNcRgQtsw7d1dxT27zjN9j5bYOdB9h5sHqVKDS0LBlyc6PbEJ1j/359o/cyrcEhq6P33YtUlM3zaPo6l08bgue8+xckVv+P193pj/ZZdaFJXgYOxKhwJjEADbyXbMB6GXqHBjk0z0bCpD3aGmtjnBdbPOohGFhZspKfjaLo7anm7Y9nUfWjRqFap935zFVd+vOw6d+4MR75eB/69mXMyEJeajVo1vOB0OMUdfNhXWkBCRCh0CVkwIhyxNRqgXp36SAvaiUbd78VvI9Zg5bwf0b2dHTuTMrFmXzbczv6A3g/3xao9Z7Hyzc3ix6D08UatzCT89PYC+B3ZguD136FGu0743x+/Q5F2BN4d7sTUsctYuYtaB2gkrP7pNO69Q4HyCCd4veLlx4P9q5Uf75k4ceKESPNeHt7bU6AuFoF/h3FxcYW6cAkhefhvrzR/pVW7dm3cf//9l//uu+8+ecy144c6u3TpIv74UYVBgwbJY65dv379eGMj2gXeJvAbIJekwGGO5ORktufL9sCuaHyaN28uGi/b+QS2a8newGSDtnczllaW0E2vQGJ4ELJVtdC5TSNWyNe20RHYuqToLGxDl3csvaLj5cfLpWPHjuLL4HuM/MsV5adm5Wfk5ddclGVJ5RcfFgidpg46t2qAay0+lWRDUKIRHZrU5Ju90mPrn5OVhJo1G17bfDeIBxK8R0Kj0chD8vDDHMmZegwZvQQ/vvYoHu/dsVwOczhY4LvvmD8eePwJuDnlbrAKjtcnfr7Tgw8+KPJnz55FjRo1RLokvHeie/fuco4QQkrncjCRmpqKnJycQoEEuX78vBO+d0hKxgOJbt260QmEZYgfLnrkEbpsiBBy8ylYAFGeO5/X5MozZAkhhJDqgu/r5z/kW5FV2GCCn0DSv39/OUcIIYRUP/z0A35yekVX1MF6cXnJe++9d9Xj11fDD49ERUWV6uSTr7/+Gt9//z2+/fZb/PXXX+Ks9NzL2Yozev98DFj8DezOwpGazZgGv+Ro8cj80Iwc10BZUr5bdJUGv8wnjwP6GzhUbjEZXAmHDXaLEbZ8oVtCZJqcujYOSzaMpT/HpyDJAYstb+a0THn9SuC0m2C53vckhBBSrNdff11OlYz3WPBDwiEhIZevvOT3uygJv1ouMDBQXDaemJgoDy0ZP0rAt9vFHS1QjRgxYqScFvhGnQcRJ0+eFCdt7d69W9w8iN8zk58pfiV+wiY/i5Sfb8Hn5dPxy12udrMmfhnNSy+9hHnz5oljuX369BHnFDzwwAMFLqXk+Jnlbdu2lXPAlBNrMGLXDISkxeL3Awvx6yPvyGM4CXOW/Yw6rZ5E8xpuuG/hNjzncRGHMt0QHpyK8VtGonvzthh3yA936vfCH7Xx0/o9aJe1Dn7mZmhZtw4/5/Ayfv5I/fr15VwG3li1B/Vjl8G99f34cO4Y3NOxDybM/wydOj+GthM/x9Pt2uH9bQFQx26GomYNKK0G+CZ5oLFbOi4ZaqKJlwKLN/mjp895/LAzE+qzM2Ft+yCWvjgJzXpFY2eCBspNn+Kcogcmjf0BTz/1EA5dCsNn30/Byw9543/L4nHxj9eh73gHvpi8EoNvM+OUvR1aeQHHFv6JWHjjXLwXlkz5HnXq1sTE6YGQNjwNa+sH8L9XPkan9u6YE1YLD7T2xublW9HY4YdMZS1k272wfO1RdK2dgYtJTvhtnolaPe/FP5MXol19C85meqFVHdf3Ys0KR6C9HpZMm4XWjdU4EiOhfUMfMY4QQsi141db8SDirrvuwtChQ8W9Yj744AM8/fTTl3fkDQZDgZ16HjSEh4eLPx4U8Ms2//vvP3HyOt/Yy6dBFsBPyuaXimZlZYn5GzVqJDoM+HabX1FSEj4/jwkeeuihIjsMCvVM8OMz/Pp/fiUCv8Tkjz/+wJgxY8QNMK6G3yGzadOm4o93xfBoqVWrVvLYgviZ4jy6+fXXX8UH4vca4Mu+2oe/ko8bf8KEAmqlCrXdr9iIOXUIMikxf+dsZFlZFMU+Vf0m3bD68AzEKzxg9L4HHZp2QePMi/Bs3Qt/bZ+Kpk1awa6oiUc6tb18eepVSU680OdZPPTA84hwKPB6Uw02xxrxWMsm2B6fggZejfHDjpn47L47UF/S47cdq9iW1wmnUo2VlxS4o74SGxeswxvPd+e796gZvQr/HjShtY+KfUEKtOk2ADN++ZNf5IF7enXAEz4dYMi+hIksxmvkL8HCAqXnn7wTQ9/qiid7dIODH5ViX6zaDXjsz41od0df/P7dN3Cwcu/TRItvvv0bT7/SFxJ7/86duqPDkBfQ7e6H4B+SikvrF2DAqwNgdHhh5469sCrs7LMroK1bF+eO7IKiWRvRs+PRoicat+2D5ATXfS8ENh0PuNRNe6Bxqx7ITr6+XhVCCCEufJu5YsUK/Pbbb5g8eTJGjx4t8sUd1uABQ/v27XHPPfeIHXl+GOR///ufeC1qQ8+3sXxHn1+Sz4MHfq98fh8a3hlQGnz+Bg0aFLutpnMmCCGEkAqqqHMm+KkFuVdfXsu9LW6WChtM8G6VCxcuVJozWQkhhJCy5OPjI3ohStN7f6spjh05VvHXkhBCCCG3DL8TMb/7cFHo+eOEEEIIKRYPFfh5F0Up8tJQQgghhJD8+Hkau3btwrp16wqchkA9E4QQQggpVkk9E+UWTDz0xb9IzdSJyyE1KhUsNgc+fO5efD7I9TAiQgghhFRMPFSIjIwU94DKj/dO8HtG3ZTDHMv3nEGbIb/i4EXXI8s5lXyfApVSCY1ahZqebliz/zweZkHGY19PwXM/zEJ8apY8NSGEEEIqizLtmTCYLOj19miRdjidmP39W3j4jo4ifyUne9v3xi9DVFI63DUaaFmAkaEzIltnwsUFI+SpgFG/jsSRw4exe99eeYjLzOkzMHnS3wgMDUZ8fDy8vb3FDbRuliGDX4LJaMSmrVvkIYQQQqqrkOgk/DZ7LeaP/EgeUrHcM3QkTi92bY/LQrn3TDhsZvHn5H9SwctI9p24gAffHAaj2SLuvDjvu9ew7+/P4e3hhtC4VKRnGyBdcTdKfrKHUqUStwHdsG69uOMXN2jwi1i0dLG4i+ZLAwdh7uw5sLDlhoWFiUd/8+k2bthQ4A5f/I5fe3btxs4dO8TdOLmgwECEhYYiOSkJmzdtEtNwcbGx2LxxIwx6vciP/G0U/pwwXqQrG5sxDof9EuG7azVSS7y3iQXBsazMHOlYsuWCPKz8xJ7ahoJVtWQbl6yRUzeXOTUaOVe57UnU2a1IyCn5vvhlxmHDpsP+cqYwa2YCDkcky7kbFxaY18NYriQLohJLd4e+q9m9YiGscrqyCAqOklOk7DiRrTeh9HcskmCxl3wTqPRsHV567C7R014R/zq3bsI+Sfkp82DCbrWIPxv7y9/ncdeQz/HysDFIzczGk+//gLW7DstjSpbDAgL+rI/nB76Ab4cNxyMPPIgTx4/jvXfevXzPcn4bbzd3N0z9bwr+99HHqFu3Lp57/nm8+frreHnwS2KarMxM9Ov/GB5/4gl8+sn/MHjQi5g08S+89+67aNioEQY8+ywee+QR3H/PvWjWvDkGPPcc3njtdQx98y1MmjARY0f/LpZzq8VHRIrX42vngB8YWjx9BrLMTmSGHMHG8+nw3T4PQXFZsJtSMG3uVhaQOWCy2mE2muCtdGLe9CUws19WZFAAHE4HYtNZwOQwYdr8tWxpOTh6MYa92mFTuiP10nacDkljy8rAzHkb2fB0LFp/QASK86fPBfQhWHGM31rbisQMI3u9NjZDPJbuOs1STgQEhcNpMYpbeq+aPQs5FicSfQ9hf6gekfsWIJkv3pKDJXt9oQ/eif3+aWz6HCTrXAHftdqwYCYyDXbkxAfB7DRh+oJNsLM6e2bXMsQb7dg4azris01IC92Nk2E66CLPIdHM1jk7ETqLBFOqH/vsybCb9dCo1JgzfR4y2XwR+5YiKAfYtXwWskwOGDLDsepoDC7tWYoLEUnQJ4ZgaxDb2LP3TM50BbXXRoLB4sD53ctxKYkVSoovNl1yLWfp7HlstAPxUfFsKge2LZkOM4tz5s9eDCv7bPGBB3Ah3oBVc2ciPi0LUtYlrNh5gf1W7Zg5c74IImeuPiaWdWT9IvBn3J04cELkD66YhRQTq0epYVhzLJJ9RzPE8Iw4V328Vhd3LUVcJmsrjCmYt/EMkn0345hfHKuK6Zi14Tjbk9DjbDB/GJEBs5fuEvOc3bwAmex1zpS5yNCbEXFyG45HsGnsRsyePptVw3T8s3g7Kx8bDOy7U7L6vGyXL5vDgaikHPjtWcbqu5m9Zyrmrnd9rmti12Hqatd8cXEpiDq8GtEiZ8T8VUeQE3EWm86EsrwNy+dMY29rxL+Lt/I77MPv0CqEpJuwaNYc6FndTgjei0PBaYg8uAoHAhNFvT9y7IxYGik7q+ZMxVezt4qHI57bshgJ7PWV0Qtw6NQB3LfUF8NG/MravGB88Nd21wxOHUZsCMbf/xuLQxeCMfi3Uu6sOLPxwvQDcgZYsnUf+9eCr/5YiDVb2Y4qa0NnbNiF18csY62rS3rIcZxI49888Nek2bDr/bGA7cS+8w9va13Sz7CdQDmdFnUWi1ZvEr/LefNXYPLGs2L4gc3r8eMs12/kVinTYILf1MJhNct/rHHL18twYuW/+Oz155GcmolfP30Dg/rfL48pGb8LWK7Hn3wSOVc5ozT/JSr5HxrWu3dv6HJysG7tOjw34Fls3bwF+/buhZNNL/FbkLJ1bNO6tTw10K1bd3Tu0lnOAU2bNIHFaoVCWXGuot2829XY8w0a3/NSsKqVlmNCamoGatXxEOualJwGQ0461DVq8y/mMol95R5KE7JNFiTFxcCWfgmXIllI4rSwBfFKrYDTmMUCONejUt28ayM5OQWm7FSovGuwBUjwrt0QSgVbDvsDPNGuHvtpmDOx6RBvRK+NSuMBQ3oybDYTYpIzRI8VX11v9hWm68xITklFHW8Ne28vxLLxwb5noOIn8Xp4ITMtGWZ9eoEnsV6LWh5KpGQakJqYAItCDTdrJgxmK1IyDPDQKCEpNGhc0wOe9WuzumJjJSchKzETZ47tQxYrHrPOAKctr0dCofZAbU81GtTxZMOBGu4axCdnwWFTon3z+qzonGjXrBHUWnc0dVdBYo3L7ovXtyHmAcNtPbrA3z8c8HJDRpQ/cpJCoLPyH52CBTCpsNjMLFji5ymxSRRGtidlZoGlN+rX8GKvKjStV4tNKaFmw1YsrwaLh9is7pBy4mFyOFGrYXOIQSzoiU/NgU8N9nlSWJDKvveOzWqhabuOolG7cGQPazKvHb9FcGx8KvvtSujUrhn7TE40atwEKq0XnE7+pSphNWXBzBZuN2RAb3PCja1rTbbOkls9Vi/YurKpUuITYTFmw6Zg7QQb4NOwDSuS3AcjOdG6KW8/LNi97zS8vVg9SpDfs30L1yTXhO3xteQPMXRi087jqMXKPiokFVF+p+EUvwcFspPY+lgMMFhdT1h0GjOhN9uQmpYj1qumxoYMVrcTE9Lh7eMhPkOb2xqLxtjhNCM7u+BTj8mNiTJr0NRLi9GLjoj2hRd4c6UeJ6N08NYqYWvUBPf26Ij67PtwcfVMaNRaPHB7RygzcocXT3Lo8WRPXqeM6PfnLgSGRSGc7UAM+/YtNM5OYd+tBdYmXTH/s75YHeYK/us0b4mVey6ylAXnjT5Qm9PhaP8Apj1bE9sT89oWXkc4sy4FPZ9+FtkBO9H7pZfx5XPt2P5fBCKa3ocxH/SHPnfCW6BMz5nQG81o/9R7cPOpDa86jVkJSOJciCU/v4UurVn+CvO2ncAfi3fCTZP3WFM1a/kuzs87Z+K3kaOwa+dOERB4sobAyjbsk/+ZjPSMDPzy08+45O+HaVOmYP68+WjYsCELBLrg4oUL2Llnt2v+UaNw4ugxjJ0wXvQwNGvaVDypzWQ2iyen1albB3abDfMXLRLTf/LhR7A77Jg1Z47If/rRx0jPzGQ/eh+Y9HosWbFcDK9ITh48gb4P3iXn2N6n3xHU7nQf2HaNkCotNdIXmuZdUIs/3a8CMKbFINmjIVqzIENgG5DDvom4v8fVH35IKq/jl0KRmpmDZx+8Qx5SmGRJw98rjqNJ19vx8h3N5aFFs2eHIM6zA1rlPST0ur31y3Qs+O1jFt6WjZLOmSjTYCLXRxNXYM/Z4AJBAmdnezt1a3giS29ie0IFP6Ld6cSfHzyLFx7oIQ8hhBBCKqazAZE45huCz4Y8Lg+pWJ4f9hc2/DVMzt24WxJM5Hc6KAbv/rmUBRKOAgGEjeVbNaqLzX9+WCjoIIQQQkjFccuDifx4AJGapUeTujfvEk5CCCGElK2SgolyPdDI73xJgQQhhBBStVSMs5YIIYQQUmlRMEEIIYSQG6JYuXLlLbwylRBCCCEVnVarRffu3SvGCZiEEEIIqXwq1AmYhBBCCKl6KJgghBBCyA0pt2Dimc9ct6fm+i0/J6dujqEDn0FCGTwuMCU8QDx7oLTMqUH4869/MGn8eCRbgIW7AuUxRdv686eX77tOCCGEVEblFkx4aHMwdOwS8efm7o5h/y4Rw/eunI+UgB3gz5387c/Z7F8Jb846izd/nI0TvqH49YdJV92gb5r0O4xX2QqvG/8t5q/bgnW/DocT6Vhy0fVAFXPaOeyLc81wbs008EeF2dP8sTMuBfP2JQCmcKw6l4Q/hk0X03z25w6EH9t39UcYm+Mxe2ewnMnjXr8Thr33EmzpsdA7JJxP1+OvUf+KcSumDkP2kUmwOIALy8YhR153tdYNGWE74K8Hck4vvfx0OEIIIaSyKLcTMC02++XbZlscTriplNAZzfD0cIdSYltYpQp2No2GTWO1O6FVK6E3maHRasW0pSI5YZcUUCv5bbslthwJWoVDPK7Zy9MdTptFPI7Z08MNFrMRktIN7loVbBYTnAo11Go1nHYHe0+2DjYHWwcFjGxeT/fSP3XFbOLL1cDDTSM+h91qgpYFDPMnfo/3vv0TCiV/DxsUao14AIvDZoVSrWJrq2JfBls5Nr6sHsxCCCGElIWSTsCkqzkIIYQQUqySggk6AZMQQgghN4SCCUIIIYTcEAomCCGEEHJDKJgghBBCyA2hYIIQQgghN4SCCUIIIYTcEAomCCGEEHJDKJgghBBCyA0pt5tW2fXBUGi85BwhhBBCbhjbhCuVNaHQ1pAH3BwV56ZVCtettAkhhBBSRpRKtqG3y5lbhw5zEEIIIeSGUDBBCCGEkBtyy4MJc9olzF9zCkqlApH7ZuBkhFEeU7achiSs2xMtnsipVGlxcs8hKBQlP58z4/waBOpKLialSoV1f/8FaFTykOujMiVg5YHwMntyqCFgHS4Yi+oCUyBo6yQcPHISiptSE9jy96+FUqPFun8nQVIW/SYqODBr7hqU9gGxhBBSlZnNlsvbKKPRVKrt1a10y5tu93rd8c6Qe/HfV++g8ZPDcX7laqhYmWWfWYQI9jpzKtvAsI3R2okjAC3bUKs02DRpLBTsNXD7X9BbgLmLDkPl5gG/FaNhSj2JM2lKlq+D+eMX4tyiX2HQuolHfmvUro/LHwMecPYiYEnG6t3BLBBQ48iM32DSaNg4DfbP+BVnz/uzZXixafSoWTMHs1ceEdOdnPsXTFIONh1KFcuZOXED2xC66K06qCJ34lyOis2biaU7YsRwhcKJOXP3i88VtuFP5OhCsC04R4zjMi6sw/Zdx2ACez+nGWovd8wb/T37qAqYI7fBL7sW5o6cxza0auyZ/iWcCtc7Ju6fgQQWvChzLmJ/tAoz/5oBlVqFmCMzkMTWgeOfR82GqdzcMWP8CviumAy7Wy22zlnYeCAKYZci8cjDPTB9/mE2rRIX146E2WLG0vUXxPrOnrVLzBu2YQz0WjVfII7MGgmLmxsrDw1MoVtwNs3GAgZPLBz1NzIjtiI4TQ3JkoGNe6MRe54HbUrY2PoYUw7hfBz7DpxWrNgcjrXjx7EaqMbFdWNhsivY5/LGmcXsc7PAzBi8FQFmE6ZNX8k+kxIRG6YiA27iMxFCSFXn4eGGlJRMBAWHw8vLU5wAWZFViP1AyelAx6694Gk34KOvnsbyKSNxQd0Pbdkm775ObMM2ewFqtmgjzlrlf3WbtoBTcsKjdjOxQR/8UA0s/utrpLZ+C14N7ob6zEIsmfQ1HnnvVfR5+xfs/u9H7D4cjbo1XRsjh92C7p3V2H3BgYdbZmPJPyPRZNAP8LDZ2LrY0eWhJxB8ZAVOXoyDpkZDKKQaGNxbgyVTJiHdKrGNoxq1a/ATSp1o3LwexFfM1qth85aQ2IbaS+Fgy1GjQR13PoaNUuLVAc2w5L9R0PX4DLUUGtTKt12s2eF+5IRuw55N+yCp3FHXW4N3fvgZSyf9iotROrZ/z96nZX32r4RajdqyOVyVqvGDr+PQ5B9xPMiAWh7sy1RasXHmSIRpH0eTmg4xjdKzLoy+e7Hk77F4e9iruP3Vz7F92nAsnbsBTz7UFnWat4Xk8MDbj9XD0n9/gbLPMHhqwNbdQxT3awOaY8lfwxBZ7xX42OzsrZ148KOR2DfrN6xZvhlenZ6F56WNWPrfWLz4w3AWeNSGh4qtKQt46tXSotdjj2P1yi1o1LIpC45qwEvjWvcGdTToN/ARLGPz5WibsDJln6dRbXg3aA2nU4LSow4LHbR4Z+DtWPzPH4gz8IDFhg2rWVAnlkAIIVWXxLZ/9evXRqeOrI2uBK1e+V0aagiHQl159yyVSpXYc5ccdhbIlEORsb15vocOFmg5nE55YPH49PwynapEwcpdycudBXk8yCCEEJIP2xNTSB5QutWRB9wcFefS0ErOyTfqdlv5BBKc5BTvV9pAgqtqgQTHe61EuVMgQQghFRYFE4QQQgi5IeUXTEhVb6+ZEEIIuaV4b/nNuRzvmpTbOROEEEIIqZzonAlCCCGE3FQUTBBCCCHkhlAwQQghhJAbQsEEIYQQQm4IBROEEEIIuSEUTBBCCCHkhlAwQQghhJAbQsEEIYQQQm4IBROEEEIIuSEUTBBCCCHkhlAwQUiVZMbJcwHYesIPSXqbPAwwZETBWEY30N9xzBdWOU0Iqd4omCCkitm+YALmnstC316d8fRdXdHIWwPIAYTd4QarNe+he+kpSfCNShJp/8hE8WrXZyAyywLJnI1LEQnINl/9IX0jZ2+AgSccBoTEZ7P3MME/PAFJ2SYxnhBSfVAwQUgV8+Tb32Bg40wM+nwCur4+Er0//htGh1OMO7hiDvbGGiFZ49H128Wo26ARurVqJMa9/vtC8Zrjuwu/7QmGwr0murdpgqXz/saBNKMYd1UGP3w2+wCg8ECXtk2QdHQzRh9LlUcSQqoDCiYIqWJydMmo3fg2rP33G/gtGYkz079Cu7f/ye2ccJHsUGs0ckamkF85RV5GKjDi6hQFZ5ZfCSHVBQUThFQxNXwaAo4cHDrjJ86ZiMs0ImHJV2IT3/Ox59C7oTsUbi1xYczLCPL1x+aTAWI+pRwEeLW7C+/1bibSXL9Hn0QnH62cy/PLe8/Biyc82mL4Cz3FMK5FjzvxXHsfOUcIqQ4UEn9IOSGkGjJhxcbjiDFJeLBvV/RtzYIQQgi5Ch4qREZGIi4uTh7i4nA40KdPHwomCCGEEFK8koIJOsxBCCGEkBtCwQQhhBBCbggFE4QQQgi5IRRMEEIIIeSG0AmYpFrQ6XQwmejOjKTsKZVK1KtXT84RUjWVdAImBROkyouPj0fTpk3lHCFlLzQ0FO3bt5dzhFQ9JQUTdJiDEEJukCLfHUMJqY4omCDV1oali+RUHqfT9QwLpzOvwy53GCQrMnVmbFu+xJUnhBAiUDBBCGfNwupjoVDaTdh5NhpKRST2Bxlxbs86hIRHYsWchbAr9DgdoZdnIIQQkovOmSBVHp0zQW62sLAwtGvXTs4RUvXQOROEEEIIuakomCBVnre3N8xms5wjpOypVCo5RUj1RMEEqfJq1qwJd3d3OUdI2WvdurWcIqR6omCCEEIIITeETsAkhBBCSLF4qKDX68UdX6/ET8KkYIJUefx8iezsbNSoUUMeQkjZ4fchSU9PR4sWLeQhhFQ9PFTgjyUoCgUTpMqjS0PJzUaXhpKqrqRggs6ZINWWUa9HVlYWcnRGechNItlgtslpQgipgiiYINXWro3rUKtWLdRwhGPXhTis234YcQGHcTQkA/vWLUJ6Wio277+ESzuXIzo9Dds27cOlzQuhl4BlU6Ygg72uWzgPzswYrN57Bn5HtyAwwYDNc2bg0JlgZAUfxN6LUTixexOORTvkdyWEkKqHgglCanVDv3ZaaBu0RLP2XZGSlgKv+m1Rt1596CJDoPFphJZ168GaHYXuA17DuhlT8eKnn+LowqnoMehNGHTpqNuwCZo0qo+0HBMUbt54oHdHZKdkoFnTxqhf2wt0MJEQUpXROROkyqNzJsjNRudMkKqOzpkghBBCyE1FPROkWkhISBCXhxJS1vittHmvxNWuvyekqiipZ4KCCUIIIYQUq6RggkJpQgghhNwQCiYIIYQQckPoMAep8qav3o0pW07zfjp5CCFlS5eVgZhNf8k5QqoeOsxBCCGEkJuKgglCqpGGLe/CnlED8cbAJ3Bi4hC88toreJTtcdhsNpgsNpjZnwQnzFa7yNscrt4cuwM4vmg49AYLzDbXODt19BBCZBRMEFKNJEYcxaBJu6H2rgkPtRKN6teFX4vmWPhYezZWwu7lv6CG9T5Me7WjaBzO/fkirGJOFlA4nbA9NQDjHlDA4eyKIz/dJ48hhFR3FEwQUo04JQXaN2+IGL9zePyHldi4cTOSo6PxU5gdT/e+Dd6SDRbJF7OPJEGrVeOLBUegZvOpWEsx/K918PY9hyVBKni4xeGb5f6uhRJCqj06AZNUeXQCJrnZ6ARMUtXRCZik2vP00EJyyhlCbgIvd62cIqR6op4JQgghhBSLeiYIIYQQclNRMEEIIYSQG0LBBCGEEEJuCAUThBBCCLkhFEwQQggh5IZQMEEIETLio2EWKQtiU3OQEh0JutSLEFIaFEwQQoQ6TZsiNSYG0TEpaFqvBmsdqHkghJQO3WeCEEIIIcWi+0wQQggh5KaiYIIQQgghN4SCCUIIIYTcEAomCCGEEHJD6ARMUi04nE7Y7PToUFL2FArATaOWc4RUTSWdgEnBBKny/lq5D8OGPCLnCCl7X01Zh78/HSjnCKl6Sgom6DAHqfLYjiMhhJCbiIIJQio4c8Re/LjwBKwZEfhmwhJYovbDP0MeWYJp330Fi5wuyIlnXvtWpD67oyMCDIAxYj1mXsrEf3P3AOnHsNLfjIgtfyJOTFXQ9C9exZ4LSUgPPYyPp++Th5bewDeWyilCSFVAwQQhFZx7m0cx5q27YM3KwNlLQUBGKLQ1sjByzgkxftV3r8IhWfDpmEMi/8WQD8RrLgUy8PX2BJF+fshC8cp/+pNfrIWjJ1bgrWPB+PfPv/HKp8vwYffa2JaUCYfJCruZRRhsbgf712G6gHkXrGJOa9Jx6J8ehwcaBOGz32bh4sJ9OLVoFNLEWODrt0ZhwuCn5JwJry87ia++nSFyZxZ+hwR+6opCjVlffgz/4CAEBZ/Dj7OOifGEkMqJzpkgVd6klfvwdSU/Z8KYnYZsowONGzeEZDPCofaE1WSEyWTB/B+/w5czZsJosKGGlxa6rBz41Krhmk+ng4ePF/QWwMdNiaxsE2rV9BDjuKx0HWrV9YHTZoBN6QU3FZBpMKO2lztSk5NQu5YPFG5eUEk2mBxqeKjzDhplpSXDLKnRqH5dkbfoMpBlUaFhvZoiz8c73Wqhjo8bLGYj9Hozjs4fi/u+mQBltpmthzuy05PZcjVo1KCOmKeyonMmSFVX0jkTFEyQKq8qBBOkYqNgglR1JQUTdJiDVHmN69aE00mXhZKbR62k03xJ9UY9E4QQQggpFvVMEEIIIeSmomCCEEIIITeEDnOQamHi8r044hsu5wgpOz6ebpgx/BV4uWvlIYRUPSUd5qBgglR5dDUHudnoag5S1ZUUTNBhDkIIIYTcEAomCKlw0vDsX667WcLM9gRsWQhP5nejBDasWoHwuAgkWoE9l4Kxa9Nq+MbrxTgueNkbMLHXU+cCsH3TKgQluubj/nvvOfALZEd//ya+XhsMe+IhjNsejqCLJ3H+8Aq8OmwqLCkHsOLYBaxatRomfutL2aBnh8spl3MHNmPdrjNyDtiyZhnORbnu8X1u3wasPxQg0h8P/AmHt6/FiZAUkYc5HSuWrUSKfI9vW2oIlq9aB35vzfij83Eyle0B5UQiKHcCQkilQMEEIRVOPWwa9oBIXZj3DpKt8dhxMR3fDHgRz7/0MlopAhFkBCavPYb+zw7G0uEjxbS51JCwZMVpPPnsS1gw4X/yUOCzOfMxYNhoNHtpKl7K+A1f/zgF3z3ZFhvnTUDP+/uj7d1Pwc3mhMqnGV56qT9G/btFnpPLd+fLoI244H03ermdxupwYOC7Y/HMi6+iV6s6WDnsQWw/fgEXDqzC3NUBUErA/U8OQm8cxIHoVLw/OwIvvzoEsctHwKi/hCVxjfHKSwOx+JUXoHX3xL+jvsaYA3Z0auAmvxshpDKgcyZIlVdVzpm4uHECGt87FBvGfY5Xxy+DN90nqcKgcyZIVUfnTBBSRfR47hs0qFcPH0ygQIIQUrFQMEGqvBcfuh2bj/rKOULKlsliQ70aXnKOkOqJDnMQQgghpFh0mIMQQgghNxUFE4QQQgi5IXSYg1R5BpMFMzYewcAHb5eHEFJ2MnQGnA+Ow3sD7pGHEFL1lHSYg4IJUuXR7bTJzUaXhpKqrqRggg5zEEIIIeSGUDBBSCXgTNyHD/9cDIPdlU85NhuH453YP2ckfhkzFt+/eT8basULg7/C3+N/xvDZ8u24mW2jBwGOKDz94WhM+m0Y/tp4QR4DjHq5P/vXjl9+H4fRO+Jx+L/PEGcG+r8xDSumDseLn/2O6L2TMGnaLHzz0VAEZtpcMyIDL4/cKadd7L4LcDAuAE8//Sg2XUrCA099gDl//4aPf50LZB3F9NOpbCoLPvplA45N+QRT50/FsM8+Rrr8mQghlRcFE4RUAnYr8Pkrz8BL7cCrjw+ERqOBWqXA5M0W/PbjCHRo5LrPQcu7n8VX345Ghm/+W2G73NHveXz9y0TEbt8nDwF+XbEIPe99AV/89B16HhuKWfE90MwdcNcAL7/3Gh57+zs4LWY8//oHmDDmUxy+mCTPWQeaU/8iUe8AJBM+fnIo1FotPGp3Rvc2DfBs90ao3aQX3vvqF7Q4tQ1w08JidgLGVEjuWjjZbE8N/h/++O41zD2SLC+TEFJZ0TkTpMqryudMXFw3EaOWnsLL30zES3e1kIeS8kbnTJCqLv85ExkZrof6ORwO1K9fX6SpZ4KQSqzHwOFYt3YVBRKEkHLToEEDeHl5XQ4kOOqZINXCd9M3ItvIH85NSNlSKZX4bOCD6NSyoTyEkKonf8/E1RQbTPj5+cFgMMg5UhRehH369IFKpZKHuPj6+sJoNMo5UpSiyu/YsWOwWCxyjhTFbrfjoYceEudREEJunk2bNkGhKP4pe7wde+qpp+Rc9VBkIGE2mxEVFVWocSdXp9fr0bNnTzkHmEwmxMTEQMn2WEjJeMB6++15N5Ti0S8Pwjw9PeUhpCi8jp07dw7338+v5iCE3CxXBhI8iFer1XLOpToGEkVu5YKCgi4HETzWuNofycMrk82We7mcq/xyg4irlR3/I3l4XctffmfPni0URPAfsFpFgdmVnE4nGjVqBKvVKg8hhNxsPIh44YUXCuxAVldX7ZHgDVJISAjc3NxEI9WxTXtYDoRDMtmgcGfRl80JRW0P6Dv5ID09XZ6reuMbOV6xOnXqJLrjw8LCoNVqXeXXuh0sByMKlJ+yrid0Hbyp/GS8/PjZwB07dhQ9EampqahTp44Yx2uoSqnAiv3nsfLAJcz75iXU8nIHhWJ5ePnx32yvXr1EPikpCTk5OSJdEh7wtmvXTs4RQoqSv0dCtO2sveKHsN3d3cUw7lb1SMTHx2PLFtdl4B4eHnjzzTdF+nrwGIBvv7jz58+XGCxddfeObwTzF4yUY4Y1MBmavs1hWHURmgdaI2figXx71QrEHDnAWzM5f3VKjQS/+Ew5VwSFEkmBR/HHn9OQ4yzYZVQUlZsRE34bjT/HjsaZGNc5HQqVFmfj9CLNKfQJiMqWM6VgNaQjMTFFzuXJrURc/sMWvCz44SD+Gh4eLoKwXM5ME2yhqdD0aQbDel9o7m+F7EkHC5Rf9KH9fOFyvjB9UhBM2uIOMyngv3QOKz6+DAUubp4FtUgDaoUe/uHZ0DiN2O6fDoXThnMpTjEul0KhRsCFzVBdsQrG+MMwOFwVqiwUV36555PwH2a9evVEmtt/PhTztp9EdEoWmtevhZd+W4Ipm46L4MJFgUtLhuHpF96ESeWGbT/MY5+99D0XlqwgREr8/AIFdNGH8fTz70GlcWL1Yj82pChKHPphq1ze5Sd/mV1ZfjyfW6d4EMHLujR/fB5+aI4QUjo8iOjfv7/YcRw8eDBq164tj7k1+E7sww8/jO3bt2PHjh0IDAyUx1yfET/8ALvNJtritFLs7BZqbXmjwqOR3AZJYG2l1zt9IBmsrARZg+XjBm2PJvJIF30Kv3ENm1ChQkp0OJKyTayRVSE6LATZKayR4qOUErKMVpj0SYgMCWeNmGve/ByZEUiqdw9++vELnD7ANmz2HGTFRyLHwvbi2doGh4SJxi8rMwehEfFiuQ6LJ0b8/B16vDQCd7VQISgkCkqVGukGGxxWHcLC46G0G6F3qJGUZmBpM4KCwtk0KrY+BkTGpMKYHgeTXf7M9gzYPeqiSZMGrnw+/LyRffv2iS/qxIkT8lAXflkMD8J4F32B8mMbG883e7vKz8HKr4Y7tN0ayyNd9MmJrgQrv+SosMvlF8XKLytZD4+6LeBpM8OQlYyE1Ks1+gpkRzbAnig72wjakepZHwa2cVCy987J0CAw2R856Ykw5ZyEMycQXZtrERcegnSjE3ZTOpJiopCdEQvJmAqn3QRdRipi00ywG5Nhl5QIDw2A3sq+AzgQHBQMia1nTFgoKzP57UspMjIS+/fvh7+/P06ePCkPdfH29hZ71T4+PuKHyvE6MnbhVrZONgx78QH8/NpDmP31i5iz9WSBDWl6qAcO7fgX244k4O53B2HXxO+xOyYbSYlpOHk2kH3XCgSfPo7IHCv0bCMb6n8OkiMTFyKS4ebdAs1Udl70WPzdERzavRQs1sLDz7SDJTkSwZFxyGT1LyEhAydPX2LrxN9XgaRzcbAZ9IiLuoQMs2s9bjZ+yGfx4sWiDPneUX7t27cX5cq1bt36mg518HpNCCkd3vbs2bMHmzdvFn+ZmSXsIBfh8OHDBf4KbDeuAe8F523nhg0b8AMLAnLbz+v118SJeP3NN8W9Ix7r108eWrRCgURoaKjYIBbgoYF+6jEo5D1i87YgqNrWFekrOeP2w96kC+z+u5EUtA1NuvbG4Xm7eN+0GM8b4eO7pqN777Y4GMMbOgUiDi/H6m37+fYW+rQstGrqBqfDjhaohbSwndC27o79K3bg0KzvcOHCcaw5E4f16y+gW+046OUNmavglPhn3L+4cGw7NvumQ6VWYM7ICTh5aA2C2V71uf07UL9pLWzafAB9+3TAopWB2LT3DFq4xyHeowO27QvgcQkc+gx4sdW92nfasmVL8Xrp0iXcc0/hpwHy3gi+QcxPIcrvKBQaV/mZtgRAXVT5xe4BmnWD9dJOVn5b0YyV38E5u5Gd7Ms+TyYupnkhMWg/NOy70MCKadOmIt3qWlFJ8kBdv7VI2Lcf7X30UCdcQKpZgUOZKrSJTkN84Gl0N/jA/8h5ZJ7aj5q33YGkM2tgit0Et1ZdYM1Kwt5IO5zZIQixNYYmdjvYrj37zhSwZWdh9Iqd2D17GXr17gVz1A7sOnEO30zZKIKV0mrVqpX4rvgG76677pKH5jl9+rTYCOZnsxhhZcHZN3/NxSvfT0KbJnUhiW8qj0IRhV/HzkOjmgqsfmUNOnTshv5dmuGP0VvQr0UYktmG3m5Ixyf3forz25ah810P4o3pwbCtWcAagSAkeahZYCHh85Vf449fvoFDYcXKHWH4+2QWenqEY2ecDb9/uwj9uujhl5x3KWna+Z2wtL8XE1+YV/jHdBPwQxe85+vo0aN4/vnn5aEuvFxzr7LiV3DwQ0X8uysN3gPJl0sIKT/8BOn8f6X9vRaHn6/HA4obwQ9nDH37baxbv0H0dpSkUNt31cs9zXaYN7I9HbVrQ2i9kADznhCRziU5rcjKyoTSqz5i4+MRn6OBN2ucEhMTkKIzXm72nWzr7OHhBouJbQbFBlBCu4fexKvPPsY7O1C3Yydsnr8b+uxknMlQQWu1Iyc1GTm1PVCnRSs8+9xgDO7TBO6168Pu7gNbvq29gy2gTc0WeO7lt/FMlzosr0Sjnh3w4qsfoYPKgs4d6iE0ycj2sNPZ3mUCarZvBA3b6FudnvDxlODlcC1HXastguPT2V6wFY4rogkeaPFGl1+uyPcKr8Q3gvxYVX783AjzxgCxUeas5+Jh3hsm0rnyyq+hKL+4HHd4e2jZHnUiUg1swyWxQElyoEENNYvrfGBnBWqDFl9++RXqaV2l67Q50P2Be7GbhWBqtjyvbo/g4u45eKqdBnc+2QJ79H3QuW8DrLf2hqePGtHRCUjPtrAF2eDusEFdsyGSLvnycBuZGSmIikmHmm2M7PpgKDrcAZWHCt41M9l3mgiVd3089MwATP78WbYBK1hGxeFRMz+Jkm8QDx48KA914ccWGzdufEXFVcBi1CE8MROTv/sAW/79EWeCY6C44i0dtroY+tozCA5OhdPqgMOejdDEHHg1bAOrZ11YMkNxQNEHfZsrYFd7sHW2okn7tlD7KMT688Xx3/DmlRfw2puPIkxnYctQITsxnK1zhAiWNA06wKllZc/K2fWe/H08UcudBb2J1itCm5uDBxD8sA/vVl22bJk8NA8/ZsuDWa5NmzalvnyW7wlRrwQhxePBemn+yhvfcejSpYv4e+mll1g7GCyPuT7Z2dl4/PHH8c/kv9k25kt5aNEKnGzJL1fkeyX5oyJeKLxx4vgGUDfhAOouf03k+YmCubfNVKq10LANpc1ihkrjxltZfk6hOGFuxoxleOXlJ9geklMc15YUajjZeN5JwQYVwg9L8GVZLVZkX1yBene+DYeVNeysqXZz07D3sLBplGyDwzczzssn3YnlSUq4aVmQwqdh78XeEVqNEhYWkCh5jgVDdrYd0GpUrJG1iqsA7GwdFGxDzZfJ15HjPSdsTUXgkx/f2PE9PY5HfldGa7zs+OEN3s2cW6kul9+pWOj+PYK6S14R+dKW39QZy/HGK0+y93JAybegChVbrhz15KPSsnXjhx9YOUjsc2vc1Zi74yLefKAjyytEHMM/K48H7WzvW8tPprWxYIlNKznt7LNpxOe1Jp9BUo0H0cZTJw5rsIiKTauFxD4rW7woX76BEvPbbWxZrjIrjeLKjwdp9913X6Go3DcqGR//vRY29vnbN6sHv4gkvPv0nfhi4H2sHFzfj0rrAXeNAkaDEWoPNWxmCZ4sb+efx8briQPuLICxO+ys7jlZAMA+k4qNV6rZ52Lrw75/viRe9m5qwGiysO9DAXcPb2ScXgr/xi/izvoOEfwqFex7ZROr3dleP/+S2PxqT1YvWcB4s+UvM9545L/SheNll7+37OLFi6W+hJZ/L23btqX7URBCrkmBQOLMmTOoWbOmnHPJ3RBKeitsgclQaNVQsJZW3al+gQ3hVTmMuOAXhtu69YCb8vLbXBOHIQ0qr7wT7yoDfmya30eCl+VVy49t4NUdr6X8bmflV/qNtYsCqbERqNuiLZS8N+MaSDYDrEofuKmu9T2vH98A8kCCd+/lq5ICz/IHVs3YchL7zodiwbdD4KYp3Ym4N4QFk5dO7oHNpyPu7NyUn95SKfC6x8uT38aWH7tNTk4WAVxJ+Dy1atUqcKIrIYSU5HIgwTdoaWlphfYGybXjZRgQEIDbbrtNHkJKwg+XdO7cucDVLldyVU3XVQakaLz+nTp1Co884npoGb+Co7Rlxk90zX8SKyGElORyIMF7I3Kv2yc3jh8i4n98D4+UjNc/fu01BQllg5/rxK8Dp980IeRmU6SlpV1uuakRJ7cK3+hRb1jZKnQZMiGE3ASKnJycCtnS8O5V6mIlhBBSXfEToCvDzkCFDCR4AMHPPOdXPhBCCCHVDQ8g+BWA3bp1q/DBRIUMJPglbrzg6MmPhBBCqit+ryJ+z6KKHkgUe+ygNJeM5bqW49t8ufyYeO7yK9KxcX6jKkIIIaS88EDhWoMFfj8ZfquBK+8lUxze28+3t2W9zb1qIMF7BGbNmoXly5fLQ0rGr1dPSUkpcQWPHTuGTz/9FMOHD8eHH34o7lPO5yuJzmLE4wu+wlr/gndDzBWRHIEEnQGSKR0F7n5gN8F8DTcA4JfK5afPKXndiuaE0ez6ko1GA+JSdSLN2fSZuN6HPqdExcmpa8fXI5fTkoPCt7W6uqyMLDlFCCGkLPFD+fzmcaXBAw6+ja5Ro4Y49MF77vmdKEvCg4i9e/ciKChI3GH4WvD5+DOmilIokOBvNnPmTHEzpSFDhshDS8Yvc+S9DMUFE/wJgxs3bsS0adPwxx9/4L333hOPPS3NSZWfbfkbO9/+G8Gp0fKQPOvXjUPrhm3gZmDv7VG34IeKO4LzuuuPvrat+k5OMbpQbIplr6ZErC/F3YT1cf5Ih4ZtsU3Y72/GMz+skccAGu/a4M/U/OGuqa4B16BBq2Zy6lo5sP9QgJxm37VbDZS2z6lWHbqMlRBCyppOp8OaNWuwdu3aUj2Fl29f+baW32gu93HfdevWvfz05Kvh8/BL7HOfp8PvXssf5VDangn+lFP+VxTViBEjRsppgfdE8Dfk16Hzp5vxKIRHI0888YS4S2N+fCX4yvCC4H+8i4XfOpn/FXrwF8OfrfDMM8+IcbkfoF+/fuIRrPmDidx0/lv1vrD4O/x2YAEOR13ES90eQT3PvDtwtqlfA0NWbsHr9z0CZehyZNXtit/nTEat2krUdVNgxqUkRJ6cgfZsvvfnr0B7x3nk+NyGO6ePwQude6OmW95jsvlNufLf2e/08aVwb9kTLyw/hAH1s7Ajw4oOjnjsSbWje+pKLImuibiTf6FD+9vx4/7zkNJ0CDq8A+279sCJHbvRvUd3ZAbvxW3sdfqE4Xikdw8M/Xs9nqgdhRgW/KwduxZ933sUg978HD3rpmB9UnOYj21HTvxBnFR0xrwh7dH89tvx2U8L0Ey/EznN+2HJF4/i7gFvsbXTY/iwuajjEQWv9HPYGC7h7NzxaPdwfzz4yTzUujQX+3QNsG7G9+j3+EAY04JQo/PtWL/lODyUBtQzX0JmjdbYsmgl6tbzwIJN53Cb8xQuGOvh4KpV6Na7J3Kr2ab589HGMw5H0rxwbtMqtO/Zq/jjYoQQQorFAwi+jeXPs+CPB+A78XFxceKZGRx//k3Tpk1FOhc/JWDKlCniWRi7d+8W21seVPCb+RV1XiEPIPz8/MS8PCDgQQffXvNtMe/dKAl/dgcPcpo0KfjU71yFtgVvvvmmeP39998xfvx48TdhwoSrHofhXSzNmjUr8McVdYtdfsve3Oek83l5AfGTSUr7YCFPjTs0qsIf2q1ed6wd+i7GzPyZZTRQZ4ej7gMfoFfrvtBazRjQ4w4837c3ks0GJEi++DUkEMkmIzq2fRrNaxQOePLzdPNGp4btca8lHvVrNUWLOm1Rr05TtKrTGpLCHW/17YBnn38Dfpq6eFx1BhcNJjz1Mi9DC/Q9XhDL2Hpcw/sloOr6Djp1vx1PBtrgZEGSpPJAPbdmaOGtRv/H+6Pbw88h+1A0kgypmL16NzIzLGjdrjWb52HUH/AO7ur/DOJ1Zmi07mK5+vCDGPjLx+j9wGAs3ZuEIffdjtc/eApHUhR47aWnMWjgQ+h3Tx/07tRVTH98+2k0Z8X3ZEsjLoZksG9fBbU1Ax5dHkCjpm1Rn0+kVKNvm0bo21qN/N+4ilc2Fvzd3b4Z+nSoBXP53T2bEEKqpBdffBENGzYUG3T+x7eR/KFbReE74Hzb+dZbfEcSeOedd9C8eXPccccdl59hdCU+z6FDh0QQ4eHhIXbUeacADy74oZHS9ErwIxRXPj4jv0KBBI9qJk+eLA478A08DyCKO5mDf6jcPx498Q9V1KEKfvbp+vXrcfbsWdEdww9r8MCC35a3JGq1BlaHDSa7FVq2scvvzIH5GLBwODp0fR6wOWCp2Q4Nzo3HgAVj4VQrxAOWJMnJPocXnmZl7bA70bOmD2yleGolf5w5Z+NfUs2WWLx1GFReDTF7849864ppq8fg3Xn70M2ShclhUeKpWBsXz0H68XV4qiMLUixRuHPwg65lRJ/BwOefQI0fnwasdvGQqEeePInpvvrLD77iTyw9fmgH6vW+FyoLf7qkq+ytfDz7DHyV+bC0Le/Co+2TOPrjm3j58+/x0fsv4K0hT+HzGUF4ooGDrQb/0A5xvohTVDA7LPfwCurA9jNR4mmjfHk2TR24h+/EinVb4eT1SX4uh3RF75PojSpiHCGEkOvDt4H8nEH+x89fKA7fzvLef29vb3EaAd/Jb9CggRjGA5Kr4fPwQINvx/m2lj+OgA/jAQTfmefpkvAgpahAhSvy8k9+7GXr1q144QXXXnVJ+MkepblPPx+/adMm8bxzfljj3nvvLXTI5FZe/smfkcGf+VAaWednwbPnB+JchyttORKMZ+7rCP99B9D5kYcuHyK4VTL8dqFml/5QXWVF0hLiocuJR4ziNjzYMS+o2zVvNiKsDihqdseHr7ieJkkIIaTs8JMse/ToUSjNFXX5J7+4gZ9syYfzIIL3ZvCd86Lw3gh+Qic/XYBvX3N7IfjTfq/c/l7NuXPnxDw9e/aUhxRE95EghBBCKqDi7iORu9POx11tfHkqvvvgFuGFUtrzJgghhJCqqLgAgfck8L9bHURwFfZZG/zqidhYfq0lIYQQUr3wQwkdO3YUJ0hWdAqdTlchAwlCCCGEVHyKY0eOUSBBCCGEkCIVe9WGVBEOsBBCCCGkwrry8RH5VciTLQkhhBBSOVAgQQghhJBS470TuU/v5iiQIIQQQkip8Fsz8Odw8ed85KJzJAghhBBSrNxzJPI/myM3fKAeCUIIIYSUCg8ecv9ylUuPhMPpxFf/rcOeM0HiuMrkzwfh0V4d5LGEEEIIqch4jwR/BteVxLM7yiOQ8A1PxIu/zIFGpWSBBPtTKlG3phdmDH8ZbZtc/ZHjhBBCCKkY9Ho9Tp8+XeAkS65169Y379BGcEyKnOLHVFzHVVRqJdRsJdQsmNCbrHh11AJ8OHF5hbhXOCGEEEKuXZkHEmnZevT76j+8NnqBPMRFqVRAISngkJziqWUqlvdw0yA0Lg39vp6CRTtOyVMSQgghpLIo00Mbq/afwzdT1ogAwdPDHefmjhDDfcMTsHDHSUz45AXEJGfg/QnLYLY6RM8E/+OHO9QsuOCHPtaNeV/MQwghhFRUVrsD3/+7HEZzxXtSdeN6tfHrBwPlXNko7tBGmQYSnV7++fJhCg93LS4s/EWkr2bP2WCMW7obarWKBREKNh8QlZTBgo3n8WTfzvJUQLfbumDjlk1o07atPMTl9m7dMW7CBDza71EkJSahWfNm8piyFxkRgWeefBr+wYHyEEIIIdXZnW/8jJV/foZmDevKQyqO/WcCsHT7USwc9ZE85MaV2zkSktMByWEXf072V5x+d3TE7kmfon+fTkhMz0FEQjqcTgl6U8Hojh8GuZqZs2ehd5/eiI+Lx4BnnoHdXvz73YhGjRtjzvy5co4QQkh1FxAZj9ZNG0DDdoYr2l//u7rhlH+4vKY3X5kGEk4WSDidLIhgfzyoyM/ucODZT37GnNXb5SEubz3eF9l6kzghsyg8mDh25CgOHTwoD3FdcsL/+F22lGxms9ksLk05wyIm7sihwzh65IhI5woJDsb6tesQGOjqWeDz8ul5L8q+vXtx7uxZMZw/5Wz3zp04e/qMyPP312g0Il0Z7Vy+gv1rxfKNBcvjapIjQsXr2T2rYSz6YW83zcpVe+RU6ditITgamCbnbq6gkGg5lZ8JC1fl1cvycG7zEujk9NXsWb4EZRVWWw3pSDcUvuSrPCSEBuF6u0ut6dHY6Zsg5yoHS1oMsm7e/lC1ZWHbBp2p9HXYbrfJKVJaZd4jwXsi+J/D4ZSHApFxiajbdxD8w6IxZfkmPPr2N/KYvDtjFUWhVGDwoMEYP24chn35Fe6/514xz8cffoSAgAB8/eWX0Gq1eO3lV3D61Cl88N776NOrF/76ayK++OxzPPbIo2I5Lzz7HN55eyjWrV2Ld956Gw/edz+yMjPx0QcfoleP2zHl3//w4fsfYMjgwejdsxemT5uOjz78EE881h852dl4/933xHIqgtiwIPgHBImNhSU7Fem6dPj5+SOH/1acVkQkpiMowA/RydlieqNezxpkNe7p7TpklBwbBj82v/iGJAsC/PwQGs0aXXM2C74OwjcoHG273gl3XjvsRjE+NtW16UqMjEBGchQCglwBBxwm+Pv5svcq+slwJQkNCkBQeLxI61lQyWUlRsHPPxAWXj0kB0JjXcFCekwYxM/cYUCAvx/byJnF+TbXw5AWy97DH0a5qiaEB8OffS7+lk67AUmpGeyz+SEly4qUmFAcOHQE0anZrMwTWXn7ITGL955p8cA9XeE0piA1I0t8D5lmV522ZSfAl02XzVdYsiI8PgOhoWwvgS3bz9cXsWl6Md21shh04ruTzGmIStYhNiJEDHfo0pDK3tuoY+seG4qAkAgxnMuMD2PrEuAqO1sW4tN0CI3LRExEBNJiQhAYEimm46JCAhAY7Jr3/NmTOHnugigTa04yW28/ZJldBZYUGcLqYYirHl0HyZwhlpei5zXZibCoJPbe/giNSWbxWSqOHDyAC0FRYtqo0AD4y+ukT09ATlYSK38jwsITEB7kj7Bo11ViGXFhyEiMRY5bffRsw7uc7aKeRMSli/GwZLreU3e9Gwun+G2FRCWKXLhcbzPiI8XvMSo0kpVpIILCYsRwXVIE0pNZffEPcpU9k5UQKeq2Wc5HRLDPEBaKSyePsLIOKLMgkLBqFLMHaxJsUGeH4GyWGcv3BsljirZl2aLr+g7Sw47j08mr8e3kpXDoE3A20SCPKdqPk1a6EtZYjD8S60pfofu7/+CLf9bgu9lH5SEVT9kGEg4bCyJ4MOEo0CORrTPCzV0Dk9kKDzctnCUED1d6+ZUh2LB5E/Yc2C96ERITXHsaDrsds+bMET0RG7dsRvcePUSQ8ef48Vi/cSM2b9uKrKwsJCYmYs369Thy/BgWL1uKXXv2IJsFB+kZGWL6lWtWY93GDViyfBliomPw39QpIr9m3VokJSUhOTnvUtZbTbLr4NmoNW5r0xgLVh6CISEEpyJ16NqlPTYsmC427Nv2n0Xb27oi3XcrovWuSFzBmrH9J0KQErAfYWYvdGnXFDGJOqTFx6Nj167wij0Kf3NN1PfUoFuntgg4tY+/GWYu2CyWpQvZheA0E/wO7kK2uh5a+KRil2821i+eiy5du8HbnnVdG5Q9S2fCu1k7NPZ0QGxPGH38BRxOcKBrx1ZYxb5fvh57z4SJcZGn98HIXmfOXok2bL1siUli+DXLCsGm87zcOiIkJAWRx9chS90I7Zt5Y+bSPSyQSMeBc6Ho0uU2rFu2Cg1atIdK44WW9WsiIUeBrqzMjm+YxxZkwa4jgXBkBeN0UCq63NYWy1dtZEFZLJYfz0S3rl1wbAX7DAojtm07gEbNm2PtnAXo2q0b3CxZ173HrZHSMX3xfrRq6IOTh129ONbkUIRkS1CqLFDUaI6WNWxYuDsAxugjuJRZE926sHWbxxouawL2HPNF84Y1cWzfHki1WqK+LgAnWFGe2bYI7g3boW1TDyzYcgG3tW2Ihm06wmlKw5rjMWy9u+LsxgUw6UJwLNmHfd6WSMy8jpPNHFmYtcFXLC9i/0pYWJuxa8d+1GvdGdlnNiBZWR+1NSpWF1vh4tbFUDVsg45Na2HBhhNIj7yEU/FW1K+hxf6d+9CoXWe4JZ/FoWgnoi4cRIrFA+7GJFxKysbeBbPQuktX1NMaWPuUjZlrL4r3jDq0itW3ay/9gF3zUbddVzSrqQCPpw4cOieGR547ymoCcGLvNng3ao8myiSsOpGAZP/DSDC54bZ2DTF71gbYk87gWKwSXTq0xLIZC8W8/JkFdRo2R9vG3mhxW2cW8pOy4tagOxb/sxgbIjS4o5YSF/wzEX10FRYdD8JP3/8BpITj4wX7sHzZbNYuyjMxKsRh4D/bsHH1clwQe2gl27b2IH7+hO30fvkaVE4JfK6gQ1sx9O9N+H79eWzatgWTZizFpAOutozjhyFcFOJig1lTN+CzPxZib0zejlnzZh3wzxcvYtz792DhvK3490A4TEn+GPbXUqTzRteagh/+WYLjrD2/Vcr80IYkDmuwLYKUt1nhJ1R6uLmJACIrR4+M7NJ/YL6hf/qZZ0S6Zs2asNlsSElNFXmO5zl+joTT6XrPR/v1E69169YVw/g0VqsFC+cvwNgxYzCNBQr8sIhOvnd4+/btxWurVq1EoNKxY0eRb8ny/P4XvOeiojCzqPdcWCqM6dFQsHJWsE1R4zaNWD3UokeL2uD78+61mkCjYJFs114ITOSbXZlShajgYPRiQYhC64NWjX2wd+tu5FidCE/Ohp21hPmbVqvZgrqd2AaP1fXbut4Nv+g0SAoVmtX1hkeD2pBsRrzw6itYt3olNh70Zetyrdj7WhqjsbcWNRu3gDdvQRVKJLA9uvs7t2UVxwOdW3ixDUDBEEXBmmzPxt1Ej0mjdtd3km1cYCDu7Md7aNS4vVMDBPknol3LmtB6N0YTSzgcTgVq1+PlqoK7axYXycQa/sOsXplhsObbb2H1vV7j5mxy19Tp/MTcnECsXr0GOrcaiNMr4F6vFXzctXj+jZewZvUKbD0WeF2BhEoDLJu1HE8NfkEeUpDToUHDmu7watQBtogABF/wR2LwAaxeswluHgoYbQrUbdYJ7hpWgOzz1a/hhnq1vXnHD9tzz8LhXRuxcfsReJlYwC6xb5U1ioaEC7CnR7HPsxoZCk/opNZobz2PJQsXIdtx7Z/CkJgAtSNJLC/WrEFIph0qj1rwZhW3Xm139hlcdZH/XUrU4+TOzVi/fS88kAXW3qJjmybiJG1oa8JLrUDzO3siIjBU7MA0a1aPbQj4zBIefWModqxZiZXbT8KQmgyV5HrPaKMGoRnX3ivRuf/rOL11NZat23PVxtPp9EAdTzVqtOnJYtUAPgCNGtWByq022miT4H8+AHf0bQmFxhN3NrGC95Oo3eqito+7aDJZUZMypHRvgB3/fIJX+igx/Ggs3LQabN6Qgjfv7oS3HmC/b1bgjz10J558sBOS8gUS3IAnnsBzj3ZkgWnpejzf+O57SPFn8cKXE2C1G5Fo1GGCviPmf/UsLrG2Myo2AV9/9Bo0fCdNpshtNdl2hlVXhMQY8d8PbyFiznzXcCYxPhAv/ToP7y87gfBE4POH2uKl2RF4b+CDGPHVPIycuh5vPPswDiydd13tSVko20CCH9bgG3SxUc8r/K7tW2HrjN9Rr1YN3Nm9I86tY3vO16DA4Q9W4PkfGlIa/ByK++66G0HBQeh7113oc2dfcR5EZWQ2meBT2wfu3jXlKqhEwJFzbKOfjhMRBtbQ8kbfD9kmG/YdPITezX3EVAILPDrfcQe2HbkAU0Y0ToSkw+JUwkurRE1PrZiELzMxK1OUmcbDA6aAY0gzWLF/307c2bGRqOy5FCwwOXnSDwMGD0F7j3hYrrk/UIk76qXjQmwGos4fRiqPglhr2qprb2zedwSW7CScjWXfNwv6bCmxsBrTEZRiZevgBlv8GaQYrTh3XQEM0KznXdi7ajeslmxsP+CPXn074dCpcGTEXkJ6/V5QKQoGL5zDYYJOn8F2c2pAqXQXexBFqdv5Dphsnnhu0EC0bVgPzbzyCu7MaT+8MPhltLaEQn8d1dDBtn9DPvwUJ1fORDqbX6NUItVgxqmASPHbUKktCIhKQ0LAUdS5/Q50ueseqGq0w8CBz6Bpi7bwVF39TflPtluHxmjZ7V480/9eNOt2Jwv1lOwzZ8Gn+R0wS+54buBAtGrUDPVUSXA26Y3XX3kaJ46W3F18Ja8mrWE3sZ2EFwahS7MG6FLXVf/yU7LIJj49Gw90qofGXfviucfvQ7PWXWHPH7iYkxCfY8HZ7QfQ5y7XDsBlrCwuHj6Ox14Ygt51DTDWask77PDU8wPRpXkDdKtX+D1LEnXhFPo+MQj9b3dHVIYdNksG+03mIDTFdZhKqdIhKEmH8FN70Obu3ixOU+PCxWDo0sIRpe2IHvfeiz1bTsCcHY9jKTWR/3x/Xp1ykjIuHwIhNy4z6hy+/G81fvhvHz6/oymsbKfy9Y964H9TN2L5OfZbZu2NjdUnidW13GplFzunEqx8ABtf2jh57ZzVaND6DvxyXy3oHErRTkX58UPAOpjzd2rk237VRRwLjYHAQ8fRt1196I2uw9FHM/POyWvc9DasGvUOZr/aVx4CNGE7Mre1boZffn2N7YApWLophn3wynW1hWWCbaTLTPPH35eaPPq21OSRt6SWz3wmmSxWeUzRDl4MlTq8+pvU+Y3fpdte/11atf+cPMalR9du0h+//y7S6WlpUu+evaSE+ASpT687pMOHDknRUVFSrx63S06nU8rOzpZu79ZdTMtZLBYxLjo6SurZvYeUnp4uhvPl8OlOHD9+eV7ObDaL6VKSk0We49MdPniowHJvNYNeJ+mNFslkskhpAYel89l6KUenkxx8pCVTmrPNV9LrciST1S6mNxuN7F+nZDK7vg+r2SjpdHqRliS7lJOTI9msZon9oNjvySrp9AbJajG5RrP5dGxZZvar4iwmvizOJln4DE67pGPzm+Tx18Mofx6RNprFq529f87ldWR5q4mth0GyWYxsjTiHWC+bQ16P6+C0mfPKjbEYDeyzy5+PfS6LzVV+JqOrLKzssxvNNte65egkFtSxoU7JaGLl6rBIVrtrzYwm12dgE4qyMdv4cIeYV2DL5mVuvs715uvheieb6zt12lhZ6CSbzSrxr8HM1tdiNkh6Q+53xVaFfed8ncUqsulz39sk6gbD1lWuLpLJoM9XP5ysLrH5eNLO6gZb79zyNht5vcv7jq4ZX29edyyuNzay+szx8nWIIuN10bV+JvZeuetkt1pcn4Ot1azZm0X9Ed8BY2OfU3xEB/v+WMSRW09Mlryy5+9plN/zevDflkF+Pwf73fD1splN4n2XTp0n1lUv1+OQXfOkpBxWD/LXZfb5eF58BOZyfeFlzT7L9dUKUlop5zdLOey38ecvU+Uh18fr3qFyKpdDSkrLkjKMvD1gvzFW//R6vZSao5eemLpXMsi/NUO+3yWXzOZJ17vq/vBvl4hluGqXS6Y8jtPr5britErJ6VmSWfxQnFJSeraUY5LruKzToOFyqmzwNmbfvn3SwYMHC/zFxMRIZdoj4drLl+BTvwW8ajdEj6Fj8fuiHa6RV0jKyBF3tPx44kpxU6pc/DkcBbBd4F07d+H+u+/B44/1h6enJxo3acwDIDG6YePG4Icv+H0l+FUWucNz8bxSoUStWrXwZP/H8fLgl/DYI/0uX4Vxtenzy81fOfxW8vTyhpeHFu7u7K92I9TVauHj7e3qXlJq0al5HXh5+8Bd4zr+5ubhwf5VwN3N9Zk1bh7w9vYSaX400MfHB2qNG9R8AUoNvL08odHmdugr2LQ+cOPd4IzWnS+LU0PLZ1Co4M3mF93k18lD/jwi7eEmXlXs/X0uryPvzndn6+EJtdZDjrqVYr3USnk9roNC7ZZXbozWw5N9dvnzsc+llY9funu4ykLDPruHm9q1bj7ecHPnwxXwcGflyspdo3KtmYe76zOwCUXZuLE9Br6+fF6BLZuXudt1rjdfD9c7qV3fqULNysIbarUG/GtwY+urdfOEl2fud8VWhX3nfJ3FKrLpc9/bXdQNhq2rXF3g7umVr34oWF1i8/GkitUNtt655e3m4VXgO7pmfL153dG63pjfe4bj5cuPWrjqomv93Nl75a6TSqN1fQ62brfd1kLUH/EdMGr2OcVHVLLvT7Qrrnrirs0re/6eHvJ7Xg/+2/KU30/Jfjd8vdRu7uJ923XpKNbVS67HNZt1hBf7XHnl6fp8PC8+AnO5vvCyZp/l+moFKa36tz8DH/bb+G7UJ/KQsqJEw7o1UduDtwfsN8bq3/ljRzFn3UFs+eQReMq/Nc98v0uuAZunjper7t91V3uxDFftcqklj+O8vOS6otCgQZ2acBM/FAUa1qkBH/dbd3ZNmd6QauG2Yxi3Yv/lH0gunh/zwQA8d193kf/4r5XYfToIbrk/bpnd4YTvwh8uN+Ccv78/ayxuQ4B/AMtJ4iQ1LjAgAM2bt2CNgrc42ZLfNKpJ06aIjYlB5y5dxDT8owUGBKJd+3biyo4Atix+mSg/KTM4KAitWrdGdFQ0m951NQML7BAYGIAOHTuKcyg4/r4tWjZHTHTs5ekIIYRUb973vQP9EX7CdcV024vfIHDNBDl348rtzpbcmeAYvDduGaw2R/5DQWKjXoPtXfB7RvDnbuRnszvQvW0TrBz5jrhdNiGEEFKRNe7/CRJ3TZNzFYveZMZjH4/F8QWj5CE3rlwDiVxzt53A2MU74aYpvruFn0W7+Kc30KVVY3kIIYQQUrGdD47C059PEBvtiqZ5g7o4Mu9X1K5xA4cer3BLAgnO4XRi6NglOOEfle96WRf+pqPeeQqDH+rpGkAIIYSQCumWBRK54lKz8MboRUhIzxbnQQx68HaM//g5eSwhhBBCKrJbHkjk4ldqeHu4iT9CCCGEVA7FBRLlemZjozo1KIgghBBCqhC6RIIQQggh140CCUIIIYRcNwokCCGEEHLdKJAghBBCyHWjQIIQQggh140CCUIIIYRcN8XKlSvL7T4ShBBCCKlc+O2mBgwYgJMnT976G1IRQgghpPKpMDekIoQQQkjVQoEEIYQQQq4bBRKEEEIIuW4USBBCCCHkulEgQQghhJDrRoEEIYQQQq5b+QQSSUdwWGcTyQtrponXm8UUvBxDf1wq526EFYGRaXK6dNb+Nw7Tps3AjDUHkXB8JRzy8KJlYuaeeDlNCCGEVD7lE0goVNCoXG+l0WjE6+qFC/HyuGUi/dnsDXj5x9k4e2w3Xpm4VgzbvW4lvp2yQaSvJDmdcqqwf6ddxFvN/KDnGUcOfh3xLVYej4akj8WI777BnuAcJF7YgeHf/IDQTAnH50wCv5HGulnLYUk7jVXrFuC7n6cg5uhyjBv9I6xXeaur33jDin2BTnz00Uf46MUH2Tpmg19tO3f8T5g4dyO2hlgxbsEy/Pjt1whIs7pmgQJuWhWWT/wPY38YjqOxFnk4IYQQUjmUUyChwB8Tl2Lo2CX4+WAWLNGXULf/y1jx3XP4ZkUAonLUWPFLf5zx7IFvbtPBnnUWsY26YdBDjTF2f+E9doU1EbN3Bsm5fOyJcD74Bh567Q2sO5qAVb/8gFFjx2PI3S0xc+xMjB03Af06arD4tCcmTvgDB2aNhC0tUcyanpQKhzUb3Z99GyOe1qLevS/izv7vQnuVEto86XcYC0UTWkydNgLn967A8D8WwZ4RjXT/rejz/u8Y/srdSGMzxFrrYsz4cdi3+ZQ8D6MA0jLsGPHHRKycukMeSAghhFQO5RNISBK+//oVzB/xOkY+UAtuDepi39koOFPD0axdIzj5zTXZH7/JprjPpldDmLR10LdrL3x9X2PXMvK5sG0FBj7SSc7lubBlMdp5JGH3qUScWL4QnbrXRSobfvRIIJo2tMHE0odPJsIWc1JMH2tpBafSybflSErKEMMkJ18VvhISLHa7GFaQEcG174Unnyk/px5/zd2JOx57GdrsKCiUCtSo1wxn/ZNgTLoIcTMwebniDfMTw5krhxNCCCEVXPncIpttnZ0KpYhanA47lCo1HDYrjA4FfNw1sNgccNMoYWcbcaXkgIKNd7LxZrsELw831zJKwWa1QqPVijRfvkqjhclogNrdExq2YTcaDHDz9IJK4YTBYIaXlyeb0pXWsvk0agVbTxUUThZAKNWwmY3QsHlLvX132mAwWeHp5QXJYYNSwd7TxhalC8PGpOZ4oZM7tGoV7OyDqtW8NCTxmeFwQK1Rw8rKQaspePtRQggh5FYr7hbZ9KyNm8qJzav/z95dAFZV9n8A/95cd3dvsDG6OwQEDARFAbv1r6/dvnbXa7eCgIiSSkt314CxhAXr7u3uxv95zu5wSIgTBMb3o5fdk/fEc8/9Pb/znHNmoc42CBOuHGDtR0REdHFhIEFEREStxod2ERER0TnBQIKIiIhajYEEERERtRoDCSIiImo1BhJERETUagwkiIiIqNUYSBAREVGrMZAgIiKiVmMgQURERK3GQIKIiIhajYEEERERtRoDCSIiImo1BhJERETUagwkiIiIqNUYSBAREVGrMZAgIiKiVlNZBOv7c8pUnQmLscbaRURERP+MClrnKECttXafO9XV1dixYwc0Go21T5OwsLB/J5Aw1+bCojFbu4iIiOhssDRUiWCivbXr3DldIPGvnNqwmBrEv6qmDiIiIjpL/pWTCqfFNhJERETUagwkiIiIqNUYSBAREVGrMZAgIiKiVmMgQURERK123gMJjY2N9Z14r//j/dmm0bVu3hrtGW4ilQrqs3BhivpPl9b8Uxq9zvru5DQ2tmdluU/rDLaNSq3mdT1ERBeh8xpIqMSP5tyX70GdRQ2Nxoz3nnpB/Oac/UWS81z01k0w2zTdtKM2bxcKa03K+9NRqbX4+r3voTmDX7j6ov1Ys7/0n/0Yis9b9c0baMTZCSZUWht89uj/xPqffKnUahM+e+Nd5Jadm3t8qDU12JVSica83ViZVGbtezIqZK+dguxavbWbiOjS1tAgb5sAyFs9GY1G5f2FSvOSYH1/zlgM5eKTTvLjKDZQ3KDL8OW786A+PBcD7n8dW2e8i7Wr1yOmx0Dkbv8BRvdu0JYnYFe2DQI9baGpTMG8FbuwfcGnsAkbBB83HX797EVs3paFLr26wtJYgqn/ewYZ1f6Ii/JH2sZ5+HXuAhEU1KN9/zHQqs345a1nkLB3G3oMGIhZH76M3YkF6Nyts7I8ahE1zP/0v9i6aT+i+w1E+s4MdOwVjh8/eAaZObVILNMhd9l7OJK8H6tXH0S3Pl2VVTHUFKBeHYQV33+MtH3LsCsZ6NQpVBmmVlvw6xdviGU8iE59+mPZl//Drp3r0an3APGRKiQs/gpLfpsLu9jL0JC6HyHdemPDjHewfnMq9m1fg1j3ShGkJGHdrG/h3+0yOOpUYn00mPbFMnTtEYO5Hz4NP9dGbNmwD6sXzkNYryGwE58pA6H9G9Yjae9CJJa6IT46APn7V+OXqR9DFz0M+355CXl5Veg7djQWfv4atm1NRlzvnkie+wm27V2DiI6Dsezrl7F+Yyq69O4ufu4tMrrC0d2/Y+70LwG/vvC1LcG0j15FaokjOsaHYOZ77yB1/0rsybJD5Z4Z2LLyd8T07wKDvTc2fP420hPXY9shA7qG1GF1ji0ifdWYPmsHopzKYduuE36euhD7V3+HApuOiA50wJxP/ovE1CrsO1KOzu0DL4ArpomIzi1Z+c3MyoWDgz2SU9Lh6+Mj+p7i6GdqgNrGy9px7hgMBuTm5orfs+Mr+25ubuf/1IbJpMPkUUYc9pwI3d5PETLpcdzx5IuY9ta3IgCpg1lsO4u5EQajtdZsMUIf3gO3//ddbFiyAZkLP8OQhz/GnY/dgpkLEjHrg5m487mvMToiA8klRdhSFIo7Hn0OLtqmnWBqBC6fcDkG3/Um1n/xGsY++Q5umTwcs5YmKNkES0UmShzaYeRtD8JJbURVRR32/Pwern7oQ1x9VR/UNDSirroaw297FGM6GXBU2xQgyZtuNTRaUFMLXHffq/Av/VX50ZWS5r6K/g++ijsfvB/ffbMcxuoaTHrgaZjEOqlhwqZ9ueg3/kHEeWtRV1mOuoIN0Pd8DDfffzvqqqrEKjeI3+wrcOcTj2GVCJia1dU0Raz1NZUwG+sQPXA87n7+Ocz8Yjo01j1rsThj0sNvYIDzduTUlmJ1pjfueuFrVPz2Nobe8xCCRj2N5B+fx5i7XsQdj92Mb35YjcaaGgy99UUUrf4cvR/8AHc/+X/44cetTYWlrgCbi4Nwx1Pvont7H0z7YBZuf+o9XBVbhe2Fdahu0OG6B16Bd+509LvlP/AZ/BhcaqtRL9a1us6Ca+57ARF1c2EW+6PBJAMTC+rqDDDVVYktoUKjLhC3PPERcn6bj4w136Dvne/j+kkjxbQGZX2IiNo6i8WMiPAQHDyYjKioCNHnwr4z9HkPJCSniHh4BIdCrXdCda38ObHAonUQQ0StWvwY/zkOM5uspyXEL39VRT4yU/ciIykNIweHo6G2GJkp+1GoiYOfXgujCEbETGA+bj/I2roKWr0ejUYxzGiAjbV9hsUxGHffdSsaj/yGzYdEVCDG1ehUMMqPNLc4HSLnZ1EpwcfxlHBEJjeO0ds4oq5B9jOJz7RXshAmGSEJZvH+gZffgp8z8Pkna5QdotKK5TI0NG0HZSwxR7nOonC1PE2hDJPrpnSJIEmupPgMlbZluwgxndiGhvo6qExG1JZlICtpH0KG3wSVslIW6MS6yx96mAzivTy9YBHzNKOqPB/ZKXuQmXQQY0ZEK5+nVmvR2CDmJeZpNhrF8hpEfzn/Gthq1fKe69YFs2qxvEpGQw5rHq4Mkx0t1kmsY9Naq6HWic8yymmsa9hiXkREbdmhpFR07doF2dm5MBhEDfgCdkEEEiq1PVztVXDuPBGN66bgxy8+wt1P34DQPjdg9XdPYfuhGrg4NLVvsGjt4eGgE78tKvj5uCF+8mvIWTMLG39fATtnG9z+/CPYvHgKduzKgqOTKy6Pa8SMzz+AfUCk/NVW5uEVPRzbp72Nfnf/F+u/fRnzl+/H+Muimn6+VGYs+PJFbNlVhW6xjvAL8kCnCc9hww/PYtXag6Kmr4Z7QIQSKOhd/aC3RgwaEQQ52YllCg5Q5uPqH670l8KveAypv7yLWdN+wZ239oNbYJB1iFx3FXbO+wqLZk3B2NsHwcU/CLbuveCeNQM//zBXLJAWansPOIjxLCo9vFysAY8IGgbEl2Pmd1PhHiSXXYWju37H9I++wK33TRJBhTISfEO9MP/LV5BkfxX8nb1xZXdXrFs0FUcr7aCx6ODprEH8uOfEMnyIn6Ysxx2T+sPBOwgasa1ixr+Iog1zsOH3pbBzd1fWy6x3x6hYk/icF5GaV41bnvk//PLpf7G5rD06utnAN0isv9gmrv6RInjzhj7pc+QY3OCs18AnOFjZbs6+kTC5dYF5wydYuHQr/EUUpXfzg04M9PN2VJbbJ8QXwYPuQer8l7Bo0VZoROByYOHHKLFcEEWWiOgcUqFduxhxvGxUMhP6c3ghwtnwrzy0y1R1RPzqNtV0L0aG/IOYs3glUGPCmHseg4vNuV0PtSg8Uz/9XARXZgQOvB3dolz+cssV7P0F9f7XIsS77fzQmqtyMeOnObBtNKD/TY+KQIhBBBFRS5aGSmidY61d5855f/rnxR5ISBp5ukDUlE3Np1XOMY1GK4NS5fTBmWy1pqtdzEqNvy1RtrtYL5NyGoaIiFq6EAIJVvHOkMnY+K8FEZLJZBSfeWZBhKS0LWhjQYSkbHcGEUREFywGEkRERNRqDCSIiIio1RhIEBERUasxkCAiIqJW+3cCCfXpHxxFRERErXH+b9T3r1z+KRmr0mBplHeKJCIion9MpYLOOQrQ2Fp7nDvn/T4SREREdPHifSSIiIjonGAgQURERK3GQIKIiIhajYEEERERtRoDCSIiImo1BhJERETUagwkiIiIqNUYSBAREVGrMZAgIiKiVmMgQURERK3GQIKIiIhajYEEERERtRoDCSIiImo1BhJERETUagwkiIiIqNUYSBAREVGrMZAgIiKiVmMgQURERK3GQIKIiIhajYEEERERtRoDCSIiImo1BhJEbVBJzhEs27wf25IyrH2a7E/Nt777Z4yl2Vh98OzMi4gubgwkiNqY7z/6ALfO2Ak3VydkHNyMoAmvILESsJiKMPnDhdax/pn6jF14f/EhaxcRXcoYSBC1JcYaPLlBg4VPXYdesaG4fvwkZP/yPGKdAZXGEzOfGWcdUTDX4dDhXORX1qGxshjZlQal94Ejecrf7OxcJB8tUt6fTuaRXJjE36KCfBzMZJaC6FLDQIKoLdHaYpBdER7+fgXqzNZ+zV9zsxFXv/eb8rahIh2Rkz/A3uwC/L58KW579Xt8sqtAGXbza9/jple+xu7MQsz+ZRbG/LBd6X8q7781DTe99AmWJeZh27pV6PDIL9YhRHQpYCBB1KZoMPeHF9EH2eh/5+uIu/kNPL8k0TrsD1+/MQNfvfMIJg7qgpuvG4cXBnrAYh3WaFFj+gt34+r+nfH8A9di94oE65CTMxpNePOlB3HTkC64/ebx8Dh8EMdiGCJq8xhIELU1ah2uv/127Pr+ORyc9iCS5vyCn5KrrAObrM1Qo0uQvbULUKlV1ndSi/eW5vDi9P4Yy8KDCtElht95ojbFjLyiGut7yQmPDnNEVv7xbR16+5lwoKDB2iVCh5ZxBBHR38BAgqgtaazA5Kffw8SPF2H7oUwsWzoXk5aacNeAcOsITf7vufGY/PD72JaShU2b1+DhJQUt8xBERGdM85JgfU9EFzuNHW65ejB6eQLpBTVw8Q3GB/deCTslSlAh2NMZ7QPcoXPwwaNj2iEhtRi+4dG4XJeNdLc4DAxyQKCXK2KCvJXZQaVBiK874oI9mrqt1DYO8PfzQbi3Izy93BAa5AN90xD4i/EjwnwZmBC1IQaDAbm5uVCrj88/uLm5QWURrN1EdIkoTV2D/6V645F+wTDVFeDyx37Cihn/hTt//YnoJKqrq7Fjxw5oNBprnyZhYWEMJIguVdmHdmHW3nI4u9rj7lF9mEEgolNiIEFEREStdrpAgo0tiYiIqNUYSBAREVGrMZAgIiKiVmMgQURERK3GQIKIiIhajYEEERERtRoDCSIiImo1BhJERETUagwkiIiIqNUYSBAREVGr8RbZdEkoKioCizqdC05OTrCzs7N2EbVNfNYGXdLS09MRGBh4wuNvic6GsrIy5VHKOp3O2oeo7WEgQZe0/Px8+Pr6WruIzj55kHV0dLR2EbU9fGgXXdJUKj4gm4joXGEgQURERK3GQIIuTYYS7N2zC7t27cKefWnWnqdXVZQvpitDdmWjtQ8RETGQoEtTfT4qXbuhW7du6NIpErBYxP9myAZDFnPTX4XoZzY3dZlVGqCmCKmlBqWbiIgYSNAlrDI/HYcPH0ZGTgkSV85AUn4dFk75AlmVJsycOl0EEWXYkV6G6oxt2J1Tie0rlwFatrcgImqJgQRdspx8IxAeHo7QAA+YTRqE+DnA3ckOQa46OMtLResbcSQtFdnFtagyNEAl/iMiouMxkKBLlAWVhVnIzs7G0dxSWExGpa/Z+tdkNMJSXw17L194ujvBZDEr/eSpDhMvmCYiOob3kaA2r6CgAD4+PtYuorOP95Ggto73kSAiIqJzgoEEERERtRoDCSIiImo1BhLU5tXW1lrfEZ19FRUV0Ov11i6iSw8bW1KbJ4u4fHAXizqdC66urrC3t7d2EbVNfPonERERtRqv2iAiIqJzgoEEERERtRoDCSIiIvpLJpMJZrN8kOEfL9k6gm0kiIiI6LQqKytPaB8hyWCCgQRdEhobG3nVBp0TWq0WavmQN6I2TAYSp8JAgtq81NRUBAQEQKXi0zvp7CssLERgYOBJa2tEbQUDCbqkyXtI+Pr6WruIzj4+tIvautMFEszHUZvHTAQR0bnDQIKIiIhajYEEXZrMjaisKEd5eQUMZmu/c6Suptr6joio7WEgQZem6lTsLnaCs4MGM6f8YO15bqz+da71HRFR28NAgi5RFqjVGqh1jnDQAjkHViM9rxgzfvgZaMjGgnUpOLJnFSrqGvDzok3IT92JzIoKzFqbCEtFAmYu2y6CkUNYkdyANXOnITsvF9N/Wizmm4lvps9HSX0jZk7/EUV5h5Ff09j0kUREbRADCbo0qVTI2rUES5csRcdR18PR0Q2HEvbCw7YetTZ+sKnYj0MV9nC0sYGHqhhb06rg6eQC2+z92LIpGe2RhX07kzA8ogHFfn0Q5OePQR1UKK6xILzrMHhYMuHT8wZ4+YXDx0Fn/VAioraHgQRdmiwWBHUdhVGjRyHG2xb7duzF5SMvg6vKAtTmIbz3GAwIViOlvAhu7QZgbD8fbE5uQKc4NySZohDVKRYb00WAoHWC5vB2GGHG9oRKuNlb7yVgF4zMXUsBcw1KapmRIKK2i/eRoDavoKAAPj4+1q5mFhFLqGRi4hij0ajcoVC+TCajPPkBrUYNs7y/vBiuVW449Md0ZvHNUVunl9PKOxweN1/x1TKazGJ+Kt75sI3jfSSoreN9JIhOcHwQIbW81bFGo1WCCEktAoimIEL6Y7rmIEJqCiKkFvMVb7RaDYMIImrTeIQjIiKiVmMgQURERK3GQILaPPnkT6JzpaGhocWpLaJLDxtbUpsnA4nDhw8rz80nOtu8vLzg6elp7SJqm/j0TyIiImo1XrVBRERE5wQDCSIiImo1BhJERETUagwkiIiIqNUYSBAREVGr8aoNavNuf/lrbDiUI9796Z7YRGeB2VCDlDlvQ8NboVMbxss/6ZIWePWTcHFxsXYRnWUqFX554SbERQRZexC1Pbz8k4iIiM4JBhJERETUagwkiC4hZrMJDY1G8TIp3Qbjmd023GIxw2TmWVAiOhEDCaJLhEnEDou+fx73D++Eme8+hstCo/Drc2NgtFhQ19CIeoMRBhEsNBgalVed6G7mGzgCDwwLR70cT7xaDiOiSxsDCaJLhEWlgrteDb1GjbsffhMLkhoQ7aVHVN9h2P3ezVjz1ZOYMiAEq2a9hLnPT0LSrOehNlkzFiLYMDcYsOfnl/DT0zcg/ccnYGY7bSISGEgQXSK0agt6TX4TCzPqsHTmaxgb44jymgZ8cHdvjHx0Km57dy4aReBgrDdg1EszMXV/OQb9KVioNdTg+nd+wm9pWh48iEjBYwHRJcIEDZa8NBaasjx8siwXHd2d5JWL2HrUhO5R9oiLaifGaSKzFnLYyVpQaNUq3pGDiI7hfSSozeN9JJpZ4ODpg54hbmioqcS6hFL0j3PGxtQSDO0SCVenSHSr349fa7TYuf8wwiOCUXU4C6UiotDbeMDHrga+gT7Ytj8D7SLCkXL4iHW+lzjeR4IuAbwhFV3SGEicjgUhUZ3xwc3dgepSjH9tDqDTWIfRGWEgQZcA3pCKiE5BhczUfRj/3+8w/u35DCKI6G9jIEFEREStxkCC2jy9lrVsOncsZjO0GpYxunSxjQS1edsOpOGmF7+GmXdmpLPMIv67ZlBXvPfwJGsforaJjS2JiIio1djYkoiIiM4JBhJERETUagwkiIiIqNUYSBAREVGrMZAgIiKiVmMgQURERK3GQIKIiIhajYEEERERtRoDCSIiImo1BhJERETUagwkiEjRWFOOvLw8VNY2AoZ6FJeVoqyyzjqUiOjkGEgQkWBGboURfn5+qCvOEV0mNMAJbs521uFERCfHh3ZRm1dSUgKVSmXtIkl+7T08PKxdkhHZ+VUI8nVDydEMuHh7oaBWjwBXnXV4k/LycpjNZmsXNXN2doZWq7V2EbU9fPonEf2l2rIClFQbYOPkAW9bC3Ib9PB3OT6QIKJLEwMJIiIiajU+RpyIiIjOCQYSRERE1GoMJIiIiKjVGEgQERFRqzGQICIiolZjIEFEREStxkCCiIiIWo2BBBEREbUaAwkiIiJqNQYSRERE1Gq8RTZdEhoMRrCg07lgo9OCz4Sjto7P2qBL2r3vzcIXj13PJ4DSOfHWjN/x8IQhsNXzAWfUdvFZG3RJG96jHYMIOmeevnEEDhzOs3YRXXoYSBAR/VOMU+kSxkCCiIiIWo2BBNFFoLqqEvWNZuW9xXymzZosMBibpvkzY0Od9R1gsM7XaKg7oUFqQ4PR+u7PTKiqrIKxFS2sLEYDG74StSEMJIgucA/feC0abZyxevorSK0EPvnse+uQv9CYhZd+3mftOF7q4jewvUQEGkXrccV//qf0u2vULSjePgdF4v0zD9+o9Lv+wSnK35Yaivdjwr1vwNbJAZ8/MRk1JuuAM5Tx66vKZxBR28BAgugC52Vbj58XrsPo219ClDMwd1kOkLcVj304E8tnvIdHZuzGireux3eL1+Hjx29GznHVfRW+vK07FqzehBduuwbN+YWYYZPx66J92Dn/e4zzPwoTzKjpdRsK9q+Erq4YBaU1SC6oQVbKCmzftAaTb3vaOiXwzQtP4scv/wudSo3/vPcjHDTAvA8fx8IVq3Dfg08q4zx6+wNYs2oJ7nrtV6AmA3c9/zHW/zYdE5//Fjpx1JFNCt5+8kGsXLkcj38wS5mGiC5ODCSILnDPfbsI91wzAF8+NxFbcoywd7DHgk8/xusPT8LIG2+Gi8UMs8oXN44ZhJtvuQxHyqwTWqncAzB2aD/cM64Liq391C6R2L9qMb5fGYkJl8Vi94YZuOGOUbDobKG184SvpzNifBwQEjMcPfsNQYf8NOuUIoaptoW80PHlG2/Ejdddjr0VlZif1xNXDh+GFyZEYG9eEuLuexdDho3GtaYfcOC3r/HiS//BwKsmwK9pFrBHLspDRyEgMBjxR+aj3tqfiC4+DCSILmgWvPDIU6gyqRET4gOD2Sh6mTBweB8sS6xE6aGdqNdqrWOK12luC3P8MC1GuCXC7vob4N7zCtx711sYG2EdJJjrGmAw/TFNyymffP4e3P7yD3hhhgg++oVBr7dHaPEiyDMcM+dtRju/dljw+WfKuD/sD0VEz8H4aUU6TIXJKNc1LasBHihITkP7du3R+Z43Yav0JaKLEW9IRW3e3HV7MX5QZ2vXxciE/LwC2Dh7ws1Bj7LyGrg66VFVVQ2V8Si+2qTFg5cFQu/gBIuxDka1HfRKFcGE6noLNI3VsHNyhalBjG/jeKz2YKqvhknvqIxbXlYGVzc3GOuqoLFzUoaVN2qhFYcHV2c71JSVw8HN1TqlID4nr7Aczp6+cNA3XftYkJcLF29/2GpEh6UBefll8PPzFVGJUVlWs6oGL322E+89OqxpOSwG5OYVw03Mw65pgS9aO5Oz0D0m2NpF1PbwzpZ0Sbv4A4mTqcMHr70Oo3dXPHn3OGu/C5UJ37z3GnLVQXjh0dvb5C0XGEhQW8dAgi5pbTOQoAsJAwlq63iLbCIiIjonGEhQm1dQWmV9R3T2lVfXwcnOxtpFdOnhqQ1q8zLzS/HIp3NhNJ38Lo9ErSUPn+MGdsZto3tb+xC1TWwjQURERK3GNhJERER0TjCQICIiolZjIEFEREStxkCCiIiIWo2BBBEREbUar9qgNi+3uAIPfTwHjUb5WCmis0cePScM7YrJw7tb+xC1Tbz8ky5pn85bhwfGDbJ2EZ1dJZU1KKmoQXSQt7UPUdvDyz/pkubn4WJ9R3T2eTg7oLK23tpFdOlhIEFEREStxkCCiIiIWo2BBNGFxlyLx26biIn3PIqyehO2L1uIM31KyO3vLra+O1722s+wuaBBeX/Lwx8qf/dNewlHykux/lApGmtrlX4v3vO68vc4uatw5djxuO7a63DjG4usPc/A0bVYkXHmD0x75cF3re+I6GLCQILoAvPTvRPw/pSf8NNXH8BOp4GTR7DyRS1J3oJ5Szdhx+r1qM7cjdyUnfh5/u/HBRkllfUoTdmDzKTd+HnBSmtfIKjfGHw1bw9QloCsvTOUfjOW7EOwsw38XA14fNyVWLrmCCrLarBt3RKs3nVYGUdhqsX/fTkbs+fMxoxnr4CppgizZs7A0ZqmweXpOzBz7mIorbYbS/Hjjz+iWr431aO6JB0//fzrsWXct24RlqzfZe0C1i+ajdV7s5T3FWVNjbnWLlmh/CWiiwMDCaILzMSPvsUTt9+Eybffi0YNsODLqeJH+ihe2eGIcaP64NOPvkTJ3l+RYx+P67ub8fPuQuuUkgpHNy5Avmscromrwy8JFU29daEoXfgDDixfiB++eQW7qupx1GcoNPV5+DHVDgP93DFqSJgYsRjdBo1G6YJXUXHsei41vnjsdtxxxx24/6e9yM0vxA2TbsS710wWo2/F1GwPTBo/HEVVBlx/51RMnjwZ7988XnymBtnlTph4/SiMf/JzJM19HaaOl2NknCOemZaEeY9dj46jr0N37RYsyqgVH6PFLy/ehpABw62fS0QXAwYSRBcYk8UF734/HT9+/yUmTJwKEUvAVJGCwf3jxTs1PFQqwGJGoLsNoHeC6U+PRzebxTBXG6ht7MWwP+6dcUu7XMw4kIrgqNF48bU30XPUWDkbqMQ/DdZ5WCxu0Iq/zk66FpkOM+7/YAq+++47fD6xMz7479tiPBPKtGbUZW/GsB7hYhw9vJ0MKDbm4MWXX4QlsheqNSpERfoqwxzTjyI9cx86u2mh8YhCRmISNmU5wlUcgZw79Mfe1BIRHC3G0n0N8HdSPpSILhIMJIguMInbF+D+/zyER+69HW98dBPqGhqgdRmK/R/cg7c++BJ54offYjQ0nUoQP+hG8x+3gqk3GGFuPPmwqx68BdmWa5T3Qcvm4LphQSIgMMMggo12fYPx9re/wmwwKMNNjQ1N85AsRhhbBCsDu3rho89/gLbeALsuj2LpW0/hv889gQP5ajzUy0WZh0dgBzjWN2L5L9/hv48/hEkvP4bR93+Cp594Gs8/8wT+98pYvPXFw3jy2efx+BNf4NnhQXCKGYopC77FhOuftn4SEV0MeEMqavPmrtuL8YM6W7suUmYD3px7EHf1UOHxHwsx9bkR1gF0IdiZnIXuMcHWLqK2hzekIrrYqfV45rou8AztzCCCiC4oDCSIiIio1RhIEBH9UzxBTJcwBhLU5q3cmWx9R3T2vT9rFWJD5dUpRJcmNrakS4LyUCWWdDoHHOz00KhZJ6O2jY8RJyIiolbjVRtERER0TjCQICIiolZjIEFEREStxkCCiIiIWo2BBBEREbUar9qgNu/RT+fh7qv6wUYnn2tJdPbIo+dHs9fgw/+Mh0o+lZWojeLln3RJm71mD64b0sXaRXT27UrOQjc+tIvaMF7+SZc0tZo1RTq3WBujSxkDCSIiImo1BhJERETUagwkiC4CX952LbYnpeKr5+/AgXrg6f+8Yh3yVxpw9bd7rO+Pt/e7h3CgygSU7kLMLd8o/R68ZgyObvwaeyuAj++YqPQb/dTHyt/jmOsxZuxNOJSegodvGIdy0evR+59W5jX3QDUyFr6BI01jnshSi9ueWWHtIKKLHQMJootAYmklag163PPad+hgC6RZ6sSPeSnuu/8xfPLVFEx4dyNWPnMHvpryHe658RaUGawTCnqdDf73yE349tuvccutt6POekK/88Q7MHVZBnYtXo5bVL+LPnU4GngV1NUlcGpMw+9JRzBjczbsju7Flx+9gbtendI0oTD3yRvx84LpaB8RjQ9nzYOr6HckWY+fX/8Kcz55ASpbPeZ+8wMev/82pItFvWvcPcp06167F5VGGxRmrsJbL/4XL03ZoPQnoosXAwmii8DHv/6OYH0Znrz1ChwSQYKtjR77p9yHDz5/Hw/ecxtstGqotBrcftsd+N9Tg3CwoN46ZROV2hO333k3XhzfEUeaG1/bd0TizOlYdOAonnxmNPakbcXQcVfArNIBnpHo4+uGG/sGwRTRE/c+9CyC0vZbJwSWZ5bCUfz94PFxmHTD9VibA9jYaDHhsZsw6s5ngUYzrr/rFrz74SNYk2KBja2NMp1GbwMVzAiKGoWnX34VXXKmokXMQ0QXIQYSRBeBT7+bj+B2nfHkg9di95EGpV9w+4HYWmwEqsWvuFWjBbCYzDjxlgYWmMS/JvPxw8Y7rkaF42hoY67HLeOfwNX9A45dgWA0mpvemOSUx1+Z8OZTE/HSvD149L15eO3hkag6NlC8UWuUd8qymC3K52mNTdFLTnGhCCRUKC7OULo3pZdAr7wjoouV5iXB+p6oTTqUmY/YUF9r18WpZyc//DZvAcpc++Lqjl7wdndDdK+rULFlIVKMvthdUI9JwzvC2S8IWr0T7J084aCT9QQVfJxs0SkyAF7+AdA7uMDJzQu2Tb/1iO3dHTH9+sDdzgZh4dHoFh0Krb0L7B290atfPLak16FvXAhC/Tzh5u0B32B/ZTp7/27o712HOb8ug0P0GAwKtYe3rxtCO3VD1pYliO7WF44u3rBR2cDZRo8brumDX35djR6DR8Ldzx/hfs7YsWElJj7xKhysy3Ixyy2pgL+ni7WLqO1paGiqwJwMb0hFbd7cdXsxflBna1fbYTHV4eE7b0e5cyS+//BVaHi7jPNmZ3IWuvOGVNSGNd+QqrCwEFqtFjJ08PT0VP7y1AbRRUqlscNHU37CDx8xiCCif4ePjw/uvfdezJ8/XwkiJAYSREREdEZk8DB16lTcc0/TlVgSAwlq86prT31uj+ifkg1YbbRtoKEH0Rmyt7eHydoIW2IbCWrzft+ehPkb9x1LwxGdNaJI+Xo446XbRlt7ELVN5+Tpn2lpaaioqICTkxPUaiY26J+TEW5VVRW8vb0RHHz6hmupqanKuI6Ojix/dFY0lz95DjgoKMja9+T27t0Lg8GAqKgo2NjYMEilf0Q+gr66uhrJycnw9/dHRESEdQgREdHFZ/ny5crVfvL37Z/SaDQYNWrUWZkXXbhalZQ4cuQIysrKlIQE0dkms2h+fn5KcH4yhw8fRnl5OcsfnXXycCgTE7LsyTJ4Mvv371d+aNu1a8dkBJ1VMjF28OBBBAQEIDQ01NqXiIjo4vJXSQmj0YguXbooCYddu3Ypf0+FSYlLw99OSmRnZ6OoqEg5Q92ycOh0OqjUaqjstNY+p2EWwX99oxKAtWz/SSQ1Vwzl2WrZaqKlrKwsFBcXs/zROdNc/mRrHS8vL2vfJocOHVKGyYTEX/041huMKCirgo1OCz8PJ2hE+TSarDcfJzoJWabq6+uVFhNhYWEnTcyazWYlmDvb5GfL4ygREdE/dbqkhPwNi4+PR2RkpNKdmZmJPXv2nDIxwaTEpeFvJSUKCgpw9OjRE5rMyyApJDwUNpVG5Pf5FGo3O9iNaQ/YaFE7YxfU3k6wHxePxsQC1K9OgzbUDV5L70RJSYlSwfxz83u1VlQwzUaYzP/8LKRaqxXzEpXPszEvjVYJ2tQqC0yNjWg0mo57otE/p4JGr4dOIyrX1j6ACY0NjTD+afnVGhuoLYYT+itUamjFPMwmI87Cap9IHBTU1gODRez7c/ERskzJyp9sxuzm5qb0y8/PR25u7gkJCTluaEQYdCUNKOj/OdTu9rC7UpQ/sQ1qZ+yG2t8Zdtd0gHF/PurXpEEX5QXPhbeduvzJBIfYdq0tMyq1BqLYwWj4J+VDlAUbPdRGAxpNLeeiglY+StPYgMYTlk9MI29sYJHJFjlMdmtFOTEem4daK+ZpluVG6Tw1UYY0orxbTA2iDJ3+R0Cl1kEjvxNim7V+fS8sskzJ5vTyB9PFpelhGrKFmDwGxsTEKPcKbkluIVmOsgvLUGcwol2wN57/fhkW7zwMjdj+jvY26BoZgCt6xaB3+2DY6HViu558a2ls7GGvlz/MFvHdr0ODUo7U0NmLaeoacFxxOJtUGuhtNTDWGWTe7hi5f23sbKBTW2CoE8sjCo9GHKM1GjMM9aamlf+7RJnSOYj1kcnBc3KQunjJciTLXkpKCmJjY+Hh4WEd0kQmxv5c/s6GRvGbJm8UIZPBpztjRURE9FdOlZSQJwPl75pMusvkhKyGyrqVfA6DjPNP9vt2qSUlZs+ejXfffRfjx4+39oFyyfCPP/6IN998E9dcc42177/ngQceEHVPDd5/773jTmDs3r0bzzz7LJ568kkMHTrU2rd1zvhJoLK5vAzKnZ2dT6jEyQLl6uYKTY0JDZsz4Pb5ONiP7wiNqAzWLToEXaQnnJ4ZAntRMdSGuKExuQj213VEnQhwa2trWxQyWSk3IWHmDKTYByDYzUH0swasYhxZSdIoFXaL+Mzm3qLyJCpiynMH1PKf5gBXVurMODTnZxxQuSPIy02pSMuXLNwt53F6ohKoNSJr+3Is25AOUbuAoaoIqVvWYv2uUvjFhsNRbA65Ciq1XD7xRsy3adbi8/68zHIZxPaTFdemcUV/ZVw5yIzaoiIUFhzFjhU/YG2hO7zVRpi1NrC1EZUAOZ0YW6WxRcaqx7GxrjOivez/2AZi/VWiYoGSJCzbuBHVjjEIcmkKLps/+4RtKKZVy+nEvOX8m3rJeVnHkRMfY0FDaQ6yC+qhsxHb0GwSgaxJrKMsD/LR0XL7H08eXHbs2KFcciGbJMtuOV5SUpLSXCs8PPyk08l+er1eOUDJpIQM0jMyMpTy9+fxlfLn7gZNlRGGbVlw+0qUv2viofFzQt3CROjae8PlqSFKYkLr7wJjWjHsrz1V+TNi3/TpSHMORpCrnbW/IMaRFfxj28W6YeS214ptrxQ9a/kzNdajuqIRGlvrPlMq+GJ7icFnlgMU87Qpxdovv8GC9TWI6R0OO7knVOJAnb8Jn38xHSmOndE9wE6p2CpzFJ+hszMjdeli7DraCL/wIOjrcjD7wxexJNMPPboHQV2bh3Vf/4TK9t3hbyv2uVgmuXxymZvKglgPsQ4arS0MhXuwacOPMHgNhY+DWayzXHZZTuS6Wr9DoqdalMWyQ9OwJukoPPzi4KATFVYxTM5HzrRpbU/2PfijzP4x3tkny9v27duVY1fL8peYmKhk5U9X/uS4eXl5ykOKZPJKZvJlCwlZLluSk1fXGzD22W/w6YKN8PdwRK/2oYgK8MQDV/fGDYM7wUF8fxOO5GNLYhamr96LovJKDIgPh/m4Crn4TFsDfn/sXvxWL46ZxXvxwU+/oMCpI3r4a1GSXQqVuxOKNizC1owKBERGwAZye4vtKo49OpmQsiYJlXKp10Er95PFrCQn5XFHvprKcdP+VMYRy6+UI2M9KvIrAAc7yJBAHhMay9Ix542XkWwTAV1FKjYeqERIgDiG11ShstIEvYMs4zJZ27Rdla+A3MfK90KWfTlMLJec/7FV1UDvnI1pPaeiZEA0wrwdlGOIunkdxPL+Me7FTZaVefPmKZf8yLKjJLXFdl23bp0SsHXr1s065h/kMUJOJ5Ov8lIO2VqsZZmTw2XwZmtra+1zdsjvrWylIQOfkx1niYiIzlR6erqSgGj5WyK75X27+vTpo5zwcXd3V16urq4IDAxUYnJ5v8I/1zNlt7yHV1v/XaqpqUF0dDSefvppTJgwQVlnGTvI+srmzZvRq1cvJZkjT1j820aPHq0kHZ56+hmsXbsWPiI2GX/dBPTv1w/PP/+80rrznzqjlhKyQiiDI1k5PFmBUFpKhITCVgSVprwqaEJclf7G9BKU3DhTVAp94PrR1VA72TT1F5VCbaTnSc5UN1UK98+ajYpuI9EnVJ4hskBrqsH+zZuwJ+UISkTw7+QRi959+yLWrw4bFi5GYmE1HAJ90LDFiNibLkOvODGd0QKNjQmH5s5HUbuB6OVvxMal/0Ou7UiYj+5HsSoWE28dDl+9rCY10ejtYCMCabOpUQRmTWeI1SJiL0vej91bytH5tqHwaJRnEUUF0KYWBxbuQKldJNp5rseURC900xcgMa0I9j2GYWzfeGjz92FnQhIySxugdwrFwMHdYVu4FXOXFMI/woTMAzlwGTYZk7sHKIF4E/GZpjokbp6Nw743YLwod+kH9uNQYhoyy0xwjWqPfqJQmrY9i4M+D+OyUC2OJO7A/kOZqDbbi8poP/TvUIeNuw8jsH1P1OxZjgzn3hjdyw2Hd27AjgMZqKzWwC0oBHFDLkeXqnWYklCHcG0VUrNq4RsUBjdtCTLzquHcZSRGxftALYuIqGSYytNwsMYDnUTF/s+FRraYkJWYk5HBrrwxpawcypsCysBXFl755ZL7/nRFUJat5szpny/laKa0lAgNExU0sYyiLGiCrOUvtRglk0X56+wPtw+ugsqxKbA/fflrRMKPv6C6zxj0ss5HY6rG/o2blfJX2iDKn2cc+vTvg/Y+tVgryl9SQQ0cQ7xRt9GCzndchjBdIpZsc8etE10x56u10PiKinv2YVToQzB03Dh0cVPBoFRGxefp9LDVyxYJBtQ3NCqVRyUpYVuE9c/tgd1YOySl22H8hP6wK9mMOZtUiLTfg8PeoxGan4AKpxgM6hOG6sydWLERuGKsC35amIl+g3vBpXwntuW5wc5cCrfQXoiqnY8pVcPxcAcDtm3ZiH2HilEjKoNewe0w4LLL4ZT8MeYc0sGpUQ/P9lFwqEqAb9wE5O76DcW+IzA8MBdr1i1Go00PFGeloNbOG0PG34iQ/B+xpdgNPXuMAY6sxMJN+1FTp4dv72EY0TkUVclLsHJ7PkpKa9Bu8DgMihdlccdOJKYfRYVJD5+ufXBZ+0Do1ecmOSHLnzzrLJNjzeVPJiN69ux5RuVPXjIkx5EVyJPd1FIeEitr6jH2yU+QV1qFR66/DA+J109L1uOzWYvRIToMD026AjGhAZj8+o/YnZaH8QNi8fKtl8MofqD/mF1TUmLl03dhgbYzIm3LYPDsgHGTb0eUZjM+6b4NvZd3wcoHH8bCAnsE3fMyXo8+jDffT0JcPzP2rjwIz1vfwNvj41GVsgE/ff4j9tQ2wCHkarz85EBs//kXbE42wMHmMFLzHNCtTyjyt67DjtwwPPzKI+jlfgjfXp2Mq/bdgbAaURbFiqkay7Fp7kdYnOKBnkNHYOSAOLiqK7Dm11+wKa8X/jOpEt++Pwd70ysQEe2DTSZ73DDxYdzktAq3/t9mdLvcFnuWie1+xeN47aah4tgiW29pxPEwGzP6LUTQ9xMRlrESU57bDNsbnJCwJgEeY17BW7eI46fY9m2BTERs2rQJCxcuVO6DI1uAde/eHVdffbXye3qq8ieHyfvryEs5evfuDTu7P5KkMlmWkyN+P6yteM4m2WJCzlcm8YiIiFrjQr/R5b59+/Dqq69au04kTwZMmzZNqX/8W2RSQiZsEhISrH2abNmyBVOmTIGvry86duyIa6+91jrk37dr5y68+/57qBXL2rFTJ7z4wgtKnHM2nLwW2YJMSMiz2jKLddrCIE9wVdWjaOTXyA15HXWLDx2rBEoyIVH+xGLkBr+OsgcXWPuemvws+VJrbVCVugpHHIIx7rb/wyOPPIEJ3TXIy96JhC0LUR57Je67/0Hcet1liPNxhVbEdycL8WTcZ+/kia79r8LtDzyFsVGrcSDbID6jabhspVCctgMb1q/F7gMpqDHKM3+ysq2GvastTG7ZyCk0QSfP/omKjKqmGsX24ssW5A5bswreoR0x7Oqb8PCztyEmLR9HjqRg6/wtqPOKRqfYDmgf4qwsm1ltIyqIXTBm3K146KErgf2iottoEtWRE6k0Yhny9+KXXZnQ+0eiW9d2CPd0gc4iAnu5bTRGFCTvxrYN5fDt1AVxsdHw89TAZNJCV52EWVNWQNPlKkwYGorKg2koLQvAdfc/gkcevQ9X9gpEwYJ9KBMVYgcnH3QadgMmXd0Pro11iBo+GTdN6Ad9TjHqRS1ZWTaxATW2jtCXVaNOrMdpSsIJZNAtK4IyQyordbIiKLtlhe+vyHHlGUN5H5PTHtzkSeLyOhRcJsvfG6j7PQUqhz++JLIslj3yq1L+yh9ZaO17aseXv9+R7haGa+8Q5e9RUf66mJGXtQf7t/6KyvixuP/+B3Db+OFo7+Ui9rHcOGrl8hm5zdTOgYjvdTnufOD/MKKDN3ITstGoky0GxLxhFJX7Q0rGccO+DFHmZGsT6wIIFosZjoGdMah9A9bO+hULE0zo3jMWHvYyqeGMfkM7wJifjdTDSdi6rgh9x4tKs30MrgwtxL60PdizsgE9hvRAN9c6lBxdgYUbQzGpuwOSEo6iTtUPdzz+Hzx6390YHGGLbRszYdJpERTVGVdNuhMDwl1QV5CA7+bsgHOna3FN9yCoTBY4u3mj89BrcO8DD+KmoSHYtT4dRq1seaSC2ViI5O15COk8BMM6+WFHhvjO5B3AxjW+GHvX3Xjo4f9gRJdg1CUvw8+HGxHVIRadOkQi0FYLkzw7/ncK1d/w5/In9+uZlD85nqxAyqRYXFzcSRMSLRkb6tBYVw2NOJbIFkmebk5wcrAT+1k2TWz6UZMtSKzfqFOQLQoCMfr2B/HMy+9jlEMlVs5agGKtPbQ6FZzDeuGa627D3fc/ga9uHgwbrS184kfjgSc/wI8zn4V67UHkleZh74GdKI0dg1tuGgfPhKXYXtgItd4OvrHD8fgrn+KpEbU44n0V3vx2Gl4e7ojc3HTUWnTQiX3RvHRyXc1aF/Sd+Aref/tpjO9Zhk8u/wR7Sg3iR9oW9s7FWPv+DsRc8yi++XkGXn3oBsSFuisJSjO0cI0aitsefB0zf3kbAWnZyMivFBvgz+suPsPsBN/wy3H7429h2i9vIu7DTUgRxx3xlW4T5HaUv6Oy/MnLI2S5au4+HTmdbLEgLyGSCTV5BqmZvAmrDE7kfM42GVzIM1Uy6UFERNQWdRIV6jlz5pzyNXPmzH81IdHsZHGmTJDI1r39+vXDsGHDrH3/XQcOHMCgwUNEXbIUs376Cb/99huef+45peXEfx56SGll+U+d9vINmbGRZ7gdHByULNWpyA3o6iwqy872cHygH5weGQhdtBfMBaICO28/NF6OsBkaCbsr2ivDHG7sqkx3subzoj6HmoKdWDh/EZYtX4HtooIf1Od6dNGnY96MGfhl4WZUe3bCoL69ERoeB13qYnw9bT4y6sTyFangEiWCNS97UUMVc9OIYDCvEBZPf3g7qFBZngdbny7wsDWhqjAZjW5dEeCssSYxVLBz8Ya/fwC8PFyV66cVYt00Dp6IjolCddLvmPntj/htxS7ka73Qv/8ARHvaoDYvAfuL6pCx/GfM2VCEuKuGoFNYIEJjvXB00yr8vno3cho80L5TKOyNVSipsUdomDvUhgpkF1gQFuUDm2PBulK9Q3V5AQyOoQgODEMXbyP2rlqJ1TsPoE7ng6joCOgqD6HGvhM6tI+Et0sBNi5chi3JOVD5xqCDnxZF9fboffloRDXsxi9LshF1WQ/4qbOx8IdvMWvVbtQ6xmP4dZ3gUJGPvAYHBPl6QttYhYpKA9xCQmBvrkRhmRp+gW4QdaEmWgd4etujrjgHuflFqGkwQWdjB51y7cypL9+Qj0+UCYWRI0cqzZJklk+SmUB5/fLJpmtJNlOWX0gZJMszjX8+SCjlz0XsMxd7OD0oy98A6CI8YM63lj9fJ9gOEeXvqjil/NlP6qJMd/Lyp0JN/g78Nk+Wv5XYfrgQoX0morMmCbOnTcfsxVtQ691NlL8eCA6LgzbpV3w17VdkNmihLlTBvZ0/XOzrUVblgMgwWxTk1sLD3xvySpCKsnIYdW4I9HeEvDGAvE+AnZObckbS39NZlLmWy2FAaXI1HOICERHoiTqLAS5eUWgXaI+akmxU2YUhzNMbMb7l+GFqErpNHIkQO9nKxwKHoABULVsM02VjEe+ihYOfJwpWbodNt75o5+cG72AvaKt24+evpmLe1hTYh/XDlQOCYShNR5XaD36ePlAZSlBttsGgkdfDp2QFftxaj5AAM0ryEpG0Nwvzf12MCs9emDAiGpaKLFRYRMXSJxIWMd8ly/dC6+WrvOJDY9E1rha/f/slpi1cj2qnUHTo1A8dNelYsmgldqUchX1Ae0QHuEGrOnWFv7VkWZHXu8mzv83lT/4QyQqhPMDKm1merPzJZFjzWerBgwcrSdmT/VBIcnKTyYxlOxJRo3LA7iPFWLQ5Uew3Xzx24xXo1D4KP69NwFNfL0FmYbmSmOjTLgh9O4Qp0/2hqfyVpMzBay99gC+mzEJtp7G4beLl8LAUIXNzNQKu7ohITyN+/+4t/C/ZDSPbO6KgzAldugVAW1eEA+kmdO0bA4fKVMz+4jvs1UWhh68dAnp0hb68BEYbX7SLdkfN0QPIseuMXiF2KEk/AoOXONZ46lC434DQq6LgaJRJIjVU4jiwbcbLeOg//8V3Gy0Y+8rdGCCnKchFlTEM4//TC+k/voZHnpmGjEZ7VOi1CA3qgA5O5Ug8okO33iGwbSzDofQ6RMaHwcNBJw+pUGvrkbO5BO7id8G1oVLMT4ewoWJcQzkyt1YjaGw7yDvJnP0S8e+Sx61FixYp5e3ee+9VWocNHz5c+fGWyUh5o6+/IltIyPIoL4GTrcWaj3/yWCiPqzJxJj/nbGq+lENe7yuTwkRERH+HbIksf5tkDP9PX833O/qr+sLFTm6v+++/XzlpJmPO5pc8EXHPPfcoJylatpr8N8kbv992263HPbJcxiMjR45QWrHIOOWf7p9TXr4hAxLZ5FkGJ391hlBuvBBRkZUFRzLlVKJ2bgIMO7LRuC8XKns99F0DYNM/DHbj4qGybQqqTnWjwTMiVlxVn4/Ny9dgb26FqBzbI6RLXwzoFAU79b93TbJKo0P5zimYWz8Md/T1P+12otaTZUReRy3vbSIflSfP5jVva1n+ZD9ZTiXT0QpR/vbDsF2UvwRR/hxE+esWCJsBovxd0wEqm7NU/urysGHZauzPr2oqf936Y2B8JGxVZ/sGqH8iKot6czV2blqNTUm1GHzFlWjv5yBqcOeuubss5w1527Bl3xYE9XkC0c61f32zzIuULA+yoicTEvKSDfljcCaterRiuoqaeqzanYr5mw4q95CQZVS+HO1sMahjKMb174CuUQHKPRSOv5/ExUcpE0c34vspM7A3qx429qEYeMV1uGp4HPSmxos+oXAhkb/D8p4msmVE586djzWVlOVSJitkcvVsByoyuJBJCdkiQybliIiIiM6VkyYl5FlFGZDLQTLQOckoJzguQyIrbFpR0ftTwsQig/AWNZnmTFDryZvyNd14T1bIjr8++1+k0ihNtnkX+XNLljHZWkK2cJBJiJbJhEuv/MnLd8RnQ5Q7k1gPa99zSqVW1tViPsdJl/NIliFZvuSNMOUlGzIjLCtmf5e8fMdgNKG6rkG5maiTXdNlI6YzSG5cVMSxT16aIm9YKp/206jcSds6jM4qmZiQLRdlqwv5bPfm453slvc9kZe4/dUlIX+XPDslvwNsLUFERETn0glJCdkpb2opK2wyIPlnlTais0smH2QALhNn8maFLJ90NslKnbysSJYtmZRoTUKC6FyRxz95jyeZoJAtJoiIiIjaAtXGjRuPq9XJs4SyifzZPuNCdDbJcioD87N9LTVd2uS1/vKeJ/IxTDwG0oVKPh75XDwWlIiIiOh8UFVWVp5wqvlYM3gioksMW98QEREREf17TpqUoFOTzWcLCgqU58SzaTcREREREdGlQZ68l0+mlE8E4a0Ozh4mJf4GebmAfF68bN7t5iYfWEdERERERESXCnliev369ejQoQMTE2dJK56FeOmSmTH5XPjmR08SERERERHRpUOr1Sr1wn+ajOAtE/7wt5MS8vIFeTO4b7/9FvPmzTv2vPSzRe6ciooK5fFm8gkg/5Scn1xmefPO3377DW+//Taef/55fPLJJ1izZo3yFAe5Dhs3bkRVVZUy7tlgEf81GA0wmBqtfS5e8vGIBw4csHYRERERERG1HbKuuGHDBuXv2SaTF831WpnQkK3v5UvWU2VdtLq6+qzdYF3Os7a2Vqm/yRtjHzlyRPkrX/X19daxzo1/Unc/4xq43IByRb7++ms88MADyrU0Y8eOPev3VZA7zcXFRfm87OzsY8mJ1mSSZLJBXm5x7733KkmIwMBAPPbYY3j33Xdx6623KsmVRx99VHk/ZcoUpbs1n/Nnn2yZg3sWvINqQx0OFBzG9bNewLbsROvQU7GgonAf5sx5D/dOfwJXff84nv/1V2SLstOY9hvuW7YVtdYxT3BkOa769ntsKDo397iQiZpTJmsshZj11Y2YlWbtbslYg4z8HBTVWr9kpnrk5aUhv+YsNXEyFGDDkjnYcKjY2kNsw8O78dui9ShNWoj4279FWt2fvxwWFO1bji+fXYB82WmuwOG9mag8x82uqrM24qcX30dSnbXHv8RUloIlvy7EgbwTD0IN2duwYEUCqs/iqjdUpGLd4jXIOmVhJSIiIiK6sCxevBgffvghFi5ceFYvx5D1WFkntbOzU+rPNTU1+PLLL/Hxxx+jsrISjo6Oym0BZB20rKzMOlXryESHvPfhpk2blGSEfFKXTHbIZZCv3Nxc5ST82ajvtiSfhvjFF1/gxhtvVNatNU9H1DzzzDMvWd+flFxoecnC999/r7zktTNPPfUUunXrpqy4rKw2Z3uaMz5/Z0fK8U/2kjvO1dVVyR7JDSoTBrKfHHYm5MbYvn27sszjx4/HHXfcAV9fX2V55fLJYfPnz1cyU5JMrowYMUIpGKdafjltVlYWgoODT9lCZHPmfjy34mvIpVxzZDc2Z+1HYlEG9ualYGRUT9jrTvEIN0slVv4+E4muw/D62FsxucsIDG3XDi5asZMaSrCmWIOBEQGwgRk5BxfjvZVT8HHCVtSrYtHZvgjzsisRVpuEb7bMxM+HyxHh0Q4+DnIpjDiyfRZeWv0DZiTnIsA9CoFOemQmLcf/dh9EauJ0bKoMQGc/T2hPsWmLi4uVbeLl5WXt01ItkhNWo0YfiA1bP8QnB9Pg7dYBwTZ1+HXhE7h+9ULMS90KO5tQZG18H3es+RE/JqXBzjkCEbX78NLOHDgXLcFzq2Zh3VETYgMi4aJXwViWil9XfIkXty3FtlI/DPRWI2HbNlTaBsDTUSO2VwPSd29AlrozhnX3V7JrjdVHsWn9PvhdNgbhxkP4ZrMR/V12441Hn8WsDSUI7twRAc56mGqKUZBYg8getnj78bvwn//7CIv27UFl7CBEHPgaq1OKkbjgS7zw1rfI1IWgc/tA6FVm5O2Yi9eefBYfTF2OGvf26BjpCYuohK+c8Q72ZBTj0+dfwZqaQPSJrMfM5+/FK1PWQR/WFe38nQBDmTgQHIRr+4HwOu7qn2rsWvAZXnr6VXy1PBk+8X0R7q5F8aGlePOFp/HuZ/ORWGWH2C7RcFKbsG/ak1hfosbv74rl+L0A7XtGIefXN/HYM//DvnpvdI4Ph11z/shQgd2bt8AUPAy9IixI3LACv6/djEO5lXDxD4G7phyHC1QIDvOGjVi/krSdogyuxs6kIyhvrEd+SgGcQnyBzC34/VA1zIc3YPG6XTjaYItAXw/oTpKnshgbUFZcCrvAUDgV78KyA+XK9EvWbMeRSjX8/HxgK3YfEREREdH5kJqaih9++AHLli3D6tWr8csvv8DZ2Rmvvvoqton6xtSpU7F161asW7cOu3fvVupAHh4e1qmbyJYHsv/pKuCyfikv+5fjyBYYpaWlIhb2Q58+fdCvXz84OTkpD0+QJ/7lSXlZl5bjnK4+eirN9dR9+/Yd65bzlZ8vkyHNdWhZ95XzlvfCOFtk4qNv3764+eablRyBrL//XX95o0u5cb766itlB8n3MpMjN+zJmmfIfj179sS11157RgsjN47cQc2JgT+Tw+VGa26NITfeySvGJ5IJDHm5hmwBIVtGhISEHNeqQ+4oOX/5t66u7oySHrL1hmzW079//1PuyE+3zsGDv74PB1sHa58mdUYDEh+agRjPYGufkzObanF4z694b8sWhMTdgYcGdoJ95mx0XWePTRM744dFc1AROR5PdQlsmkAW2MyVGL86Aw9ddRsGempRmDoH07YU4qrr78GRn+/D5pD/w/h2TlCZc/DjvM0YNPZW+B2Zg6eKu2HZ2N5KAuV0kpKSlH0bGxtr7dOCpQizvn0C1QO/x50xopZavhX3/bAVd97/MLpV7ceji9ah+6B7MClEB0tVBr6f+zGcBn6ACeFA5b7vMXiPH9beMgrOciGqtuOxqXtx3z3jkbhmCn5viMU9vbsj0sMbdhrZ7Mki9o/cb2LarPVYtNUBYyd0Q9OeaMSeBdNQ3vV2DAkWIxxZgE6vFWLGx3chXknOJOONQaLfl3ehV+N6fPdoIq5e+Sza1W/EA1124Z7EhxAvRkv4ciJ+0U7AE3deAxeUY87b3yLF/TI8dVdnaOorkFtSjtqqRHx610b0eOthXBuXga+eehyhL63DVX5A4vTrcX/lg1j7f/2Bsk0Y88IuPPzk3Rig2oRv3/4AnV9cjP6eygLDkL8dX3zzDvxvmI3rouQyis1pLsWvn0/DQbtBePqOLpD199qUufj0x7no99hMGN/ogg3DF+P5Yf4wJHyHSXNz8NQDL6CHVw3mfP0RFqiuxIy74uWckLdrATbU9MCEgYEo3r0Avx2yw4Ah3eDr7gYnmRk4uhafrlSLA0g3ZK1djcM2sRjdLwJaMXVR6kqs3gYMufEy2CXMwdT0cDxwTVdRVow4uOgnJHkOxlW9g/Dn1FxDWQpWLtqGoLE3oX3eYny5zxV3jesHW7H/0tbMwR50wOjB7aHsEiIiIiKi82Tz5s2YOXOmUpG+7bbbrH2hJCVka/uJEycq9b6TkbcBkHUjWeE/VQJB1odtbW1x6NAhJcHRtWtXDB48GNOnT1fqnrK1vqxjy+WQnxMTE6O0lvDx8TlpXftU5Oenp6cjJSVFqa/K+q0UGRmJ6OholJSUKC0omucp/8o6vbe392nrvmdKJj5kfVuuh0y2PP7440qjhr/jJOc6jyczH3fffbdy+YNMOMiz5u3bt8dLL72E1157TckoNb9ef/11XH311WecHZEbUGaFAgICTvqSSQKZSJAJAPnYFbnhzpTcEDJj06VLF6V5zNGjR5XWDS03vNxhsoDI9ZP3x5A76J/uGKVQnqRgyv6nzf6YqpCVmYWiOntEdp+ILyfeAmP6XMzKEttSK3aTmN6sc4SfYwNyMpNQqlwR0YCj2YUwKgkWvVKBlVQaLfQak6jgquFl74Q6OKOjTzji/Qbgrf97CqMCRK1YlEmtRmwP6zT/hFpsM2e5jJLWFs7i85USYG5Eg7EBJusXw2I2wiDKk8X6oSqYUF2dhCOVTd1HD2xCjoMfXMx6dI8bh/9dNRrxLtl49v2nsTqvAocTE5BTIRa8JgEL1xgw8rrmhISYduXPSAu9qikhIYnPNKfuw8GjTWWxes9aJHVQwdfHHuqWl2w1mmGsrzy2b+RX1UmjgVrpYYFttRbaCh1K976G0EeXwS0gBJEx/rDXqGCWu1qMpVerYG/9WHcPf3QItCaMTE1JlJZUYifVpS3GT1tTobF3gWMdcGhrUtNAUy5S81UIcWtEUcYu5FsXKic1S+zvTgiyFaOIBXTRNM1TZ+OEuNAIOCqZAaMyc7EoisasFVh+JAJXDpTLIraBd29MmDgSUf622LNwKubtLBJHEI3YB/JDNNBrG1CWl4+mK2vqkJ+ShWqxDY8tvaq5rKhhoxdlUSyIdfFOQ4whpmuahwo2OvFpZrH//3pCIiIiIqJzqrmuKBMBq1atwltvvaX8ld2y/6kSEn+HbK0QFxeHBx98EAMHDlRuTyBPlkdERCjvZf1a3hohPj5eubRCJjH+LlmHbW7ZLt/Luri84kDep3Hv3r3IyclR6vTyJYfJerJsGNDyhP0/Ief3xBNPKJfAtCYhIf2tR4LKlhLyxhnTpk1TLn+47LLLcNNNNymZnrNFJgVkQZAbqrllhEweKJX9Vtq1axd+/PFHZcM3t4aQ72ULCXmfCXn9S2hoqLKjTudMWkrUNtajuKZCVMf+WF75TqfWwNfRHRrx91Qa6ytQVF2OClHbtdU6w9/FXdYbxYAa5Nar4ONkryQejPVlyKmqEFVHW/i6eMNV3YDCehOc7RxgKyrLJmMtaurFuto7K03sjdVFyKqrgUFUDO11Hgh0doTRUIkysw187P/6SSKnbSkBE2qqygA7TzjIU+xmA8qq62Hv5AQbsZ0tDZXIqiyFrWMAfOx0MInPzaooh4OjD2xSZ2H4Xj8sujoOpQ1GONr5INBJfhEtqK8V61hTKeZuCz83XzhpjKLs1UOjLcaymbsRMe4KdHCRzaUsKN79G5aWRuK6oXGwba5Fi22QW2WBk6UUOYVV0LkEINTPRdl+poYaVJc1wt7XVTnTb6wtwJHsSjgFhcPTXIoaOMDJ0V5Ups2oLatGo9oWLuKz6gozkFncACdvb9ibNLBxcYCd3ijmVQatqy/sxMxNdaUotzjDw15sDFM9CsoNcHZxEmtRj6qKSti4+UDXUIriRlt4OdsrFf26slxk5ZVB5Sj2jb8v5KQWURaOHs1FpUELN79A+LvZiTEtqCvNQ6O9D5xlSwdRLsobLHCwdxT72Sz2QxVqYQfPugT8sLwCY64fCi99UyrBbKhBRWUtGi0qsS9cRFkRa26sR2U9xL6wVbaLubEWlVV1sIjvW2naduzMdMcV43vATkxbbdTB2b6peVpjXTUMKj20YvuYW3wvVWot9GK29bUN0MplMtWiyqCBk4ONsp7G+ho0WOQ1dfo/kh1EREREROeBPGn9zjvvICwsDNddd51yAlzez3D27Nk4fPgwnnvuOaXVwsmcSUsJSdahZLJBXqohrzaQ9Ul5iYWsd8rEh0wSyDqpvF2B/KzTXQ5yKrJuKz9HPphAXsIh68+yzivr0LL+3lyXluPIOrC8VEWe8JfD/kkdu5lsKSG345YtW5REj0xQ/N3ExN9KSrQkWx3IlThbGZaWmlsrnI2N1EzOU+4Q+ZLvm3fMXyUiWjqTpERbJG+KIreXbL1yNtVmrsMb2Z54sX/cCZcB0L+rtiAN2zbuQJ4BUOtcEN6pF3pEeVhbRxARERERUbMzTUq0JJMP8iXHb37JlhEyYXE2yDpucz26Jfk5Lfs3f/bZ1JwAkXVrWcf+u1qdlLgUXapJCSIiIiIiImrSmqQEnRqTEn+DzADJVgPy0pLw8PBWZYGIiIiIiIjo4iPrf/KJGbLFQ7t27Y5dPUD/DJMSrdB8GQgRERERERFdOmQSQiYnmIw4e1TFRcXcmkRERERERETUeq28IZ3KwhQPEREREREREf0DNTU11nd/D5MSRERERERERNRqMq0gH3/aGrwxAhERERERERGdE391T0YmJYiIiIiIiIjorJKJCPmkkuXLl2P16tUwGo1QqU688QQv3yAiIiIiIiKiVjvZ5Rvr169HbW3tsVYS8qklLi4u6Nevn/K+GZMSRERERERERNRqJ0tKnKk2mZQwi1XafigTK3ckocFoRNfoIFzeMxZ2NjrrGERERERERER0NrRMSpzsEo2TaU5FtKmkxJG8Etzz7iwcFn/1Wo3YGE0bRP6Va6nXqnFZ9/aYNLwbOkcGWqciIiIiIiIiotaSaQX5SNDCwkJkZGRAo9FYh5ycyWRCVFQU3Nzc2lZS4sDhPDz40WzkFldAp9VALZMS8k6fKpXykskJtegp19hktqBdsDcu7xWL8QM7wcHOxjoXIiIiIiIiIjpTLZMSmZmZZ5SUiIyMVJISF9XTN/JLKvHmjN8x6MGPsG5vqrXviWTrCI1adSwhId/LZIRGdGvUGujEBnKw0SG7sBzfLdqM0U99icse+RQvTVmitLYwm9tMnoaIiIiIiIjognXBt5RYuTMZM5Zvxcb96ZBXpsiEg5ODPd5/YBwGd45qGslKtpR4+JM5yMwvRYCXC8YN7AIXR1ss356ExIw82Op00GqbnpEq5yWTFbL5hJK40DS9h9gaZpMZ0cHeGN07Dpf3aq8kM4iIiIiIiIjoRP+kpcQFm5SoNzRi1GOfICuvWLkUo5l8dIiDnS0++M8EDOkWY+3bJKeoAvlllWgX5H3C5RgmMV1aThG+X7QFO5IyYRJrrZWtJzTWJIVMTMikhNDUskKNOrEMhkYjZjx/C/w9XZRhfzZvzlxs37YNrq6uuO3OO+Dj42MdcnKLFi7Eot8WorHRgHv/7//Qo0cP65CLX35+Hr77+ltkHD4MP39/vPLG69YhRERERER0KZOt0b+YsxKf/rwcjUaTUomFcqqYTs+i1E09XBzxyZO3okdcuLX/haVNJiVq6hrQ7bZXj3t+qSSTC052tvjfIxMxpOvxSYm/o6q2HnPW7cPaPSnIKa6AjU6rfCVqGgwor6pDg8GojCdbVjx/y+WYMLiL0v1nr7z0MubOngNfP1988dWXCI+IsA45uR+nT8f0adPR0NCAl155BYMGD0J2djbuuOVW1NfXY9KNk3HXPff85U68EGVnZeHNN95EclISQkJC8P0PU61DiIiIiIjoUrZ1fxpG/N9b+P7Fu3HtsJ7WvnSmbnz+M+xNycSBX96x9rmw/JOkxAV9XYLZZDzhZREvk9l0QrLiZMorq1FSfvJnpTrZ2+K2Ub3ww7M34acXblWSEklZBSgsrVJaR1gbTSjOZv5u8k03YdmK37Fm/TolISFZzE07sKa2FgZDo9LvYhQUHIzPv/wCq9auYUKCiIiIiIiOkZVWWYeTT0mkv0/eUkA+rOGCbFHwD13QSQmLKLQWs+m4l1n5e/KEhMlkRtLho7j3pY8QOHgiOo+7F30nPYRO19yLiY+/gbXbE1BTV28d+w/ynhJaTdN9JlpFTCgLx4oVKzD2yqvQvUtX9OzWHb179MTIy4Zj9s8/o9FgUEZdMH8+enXvgc7xHbF1y1a8+/bbuHHiRMg1srGxwexffsHQgYNw3bjxWL92HZ564kl07dQZY6+4UsznF4waMRI9unZT5iHnf9XoMVi+dCmMxqaWHY2Njdi0aRNunnwjeollkMvRvDx9evbE5BtuwJpVq5Rxc3JycOfttyvD77rjDnz5+ecYIj5bzl/Ou0/PXrjlxpuwPyFBGfeF559Hv959jn2+HH79ddeJ9diizC83Jxd33Hqbsrw3T5qs9KN/h6HmCOZ99TWW78pUurN3r8HvGw+iWun6J0qxce40fL8o0dpdi9Rdq7Fi2xEY/zoveNE7vG42vvn2Nxyxdp8LlsaD+PGz77Fyb4G1z8WvdOcCfPPDr0htsPY4rUYUpG3D8rX7UFbbRguVyYDNP32Gmb/vRoW119/RUJKJX7/8DMuT8y64QKQ6by9mfDEDe/P++dHm4lGOldO+wbx1ydbuf1FNMXauXo6dmSUwWXvR2VexZyG+nTIXSXXWHkQXInMd0jYvxWOvfI5xz36D2974Gv9bkoAygwnFGQnYvD8D1f/0Z9VciV+nf4/H5h5AU03j32BBXXkRDqRmY096LrJKa6z9Rb3QcnbiBFNDLQqKK1DbcqUsjSgqKkVRzZmfIDbXVyApMw97U49ij3ylHEXC4WKcWNukv3JBX77RcdIzsFgr283k5RsODg74+IlbcVmP9ta+TfYcSsVtz76HrLwi2Oh0sLezga1eDwd7Wzja2ylP3bj7+jEYP2KAdYomJRU1uO+Dn0VByoZep7X2FWVTbBl5+cZ/b7kc153m8o35c+dCb2MDd3c33HTLLYiNjVWSA2vXrMXcOXOU9wMHDcJrr7+G1atX49WXX1Eu35CtCsLDw3Fg/wG89N//wiDWddSoURg3fjzsxPI6OTnhvXffwzoxH51eh5DgINwsKv1B4m9lZSUW/rZQfMYaZV5jr7kGTz3ztFheLebPm4eli5dixMgR6NK1K+zsbFFRUYGVK1bit19/VVpl9O7dC8+Kz3z+2Wexb+8+6MT2iusQh4mTJsHb21tpdjNr5k84cOCAktGUSY927dph0uTJCA4JRnl5uVi3udi2datYPyPGXDEaD/7nP3jy8SewZ88edIiLw/SfZlq30qXNUp+Lbas24EitLTx9XGEsOoLsMlu0GzAMA2O8UHxwPX5buQda/wA4OrnAVVuL7Mwi2Pl3wpDLesDLUoZ9v8/G6hw9/D084ebugMaybOSVa9Gu/3D0ivYCajOwaOZKOHQbiRFdvbF19nQkmNph4g394VRfgkO7NmNTYhHcg4LhbCxDTqkZUb1HoEeEPQ5vWYadWQa4e/vAxpCPtKNVCOw0GP3j3ZCftB3b92SiRuMh9n80YsLccXjzEuzX9MPtV8ZBXV+OxK0rsfNwDdwDgqCvzUFOhR7t+w9Ctyhf2JgLsXzKz8iAB3x8XeBko0NpZioqHaMwZMQIRLhVIm3bZmxOrUFQeABsGkqQXdCA4O5D0DPSDec+j25EefY+rFm3DxV6LwR76VGcnQuV2PZD+3dFzc65WJGix7Dbr0SopRpZB3dgw7Z0qLyC4a0V3flV8Izug2G9o+Cgrkf6yulYXB6HCWP6wddBzL6hAtvmT8dBt/4YN6IzXFXl2LdytahQVCj7wslShfLqWhQXNiK67+UY2un096Q5W4qTt2L99v2osfEXZUqNwuwC2IZ2x7DBHWBfWYA9m1YhIc8MvyB/mMqyUGRwQceBQ9A52BWWmgwsnPYbSuy94OnlChe9CnnpaWj064bLh3aB6Wgi9u/dgyOVKviGtEO7Du0QYMnDxq27UaPzhqerCsVZWajW+qPf5SMR7daAlHXzsDwrENdfMxhuFWvw/dxDsPHyg5eLI2zUVUhLL4ZPfH8MHRgLeXefiox92Lx9D8q03gjw1KIwKxdmjxj0G9QHgbal2P37b9iYqYaHgxY2bn7o3K0rTOmrsSNHjYAAX2jqCpFbakFM7wHoFPwvNBk0GbBl9nfI8OiN0cO7wMVQiO2rVmBXrh36jRyKeJss/LxgNXTd78b4LvbKJLUpG/HLigMIG383+uhzseLXBSjUecLRzRVuYpTSrKOotQ3BgOF9ES6OCTDW4ciuddiWWgx7L384qyqRlVONwK4D0LNjCJwq9+GnWRtQYe8jymE9nGMGYmCo+B2ZtxZV9v7wc7UTvxUWZKdnQ+PfGaNG94aX+ALWFaRjx9bNOFLnjGB/J1Tl56BK44MeQ4YgpP4Q1u5JRnZWBVzE75JfSDz6dfBBVe4hrN+wF5V6V/i52aL8aBbq3GIxpF9X8TmNSN60DrszauEfFghdnfjOF9chuMdI9Al3Utb9XKsrysCebZuQWmWPoAAX1BbmoMzihW5inWJFecrb+xvmrC+Gu48n3N2coaovQHq2Ae0Hj0TfEAsOJCQg6cARGBx9ERgZjW6xMXBrzMSGLTuRWaGDn78HGgqyUKz2Qa++A9HeX4/0rUvw+/ZcuHnbw6BzR5deveCUsxmLt+bCw98dDi4esDOWiH1WC8+Y3hg2MAYO9UXYsWwuNpU4wNtGDzvvYLSL9sWhRQthP2IChov3hftWYUNiMRwDQuCOSuTkVMC5fV8M6xyAxuIs7N62ASkVYj0DXVFbJNbTKD5brqe33b9wVsoojvf7sHZTKrSiTPo4mFGQkweVb2cM6tseJetnYlmKLS6/ZxzClPFrsH2eiMXqwjF58mCY0nbgt6WbYPL2h5OzG9z09cjJKoDGIw5DR/SEr64eKat+xqJ0C/w8fUQM5gBzVS6OFpsR2ecy9G7vBzt1I7J2rcHGhCxo3IPhrqsQ27gG/p36one3aLiJMp6+WizHwSq4BjiLZXBFkIcrGoqSkVZigo84hsW0i0R0qA90yjISXTiqD87DlZ+V4MGnbsC4kJbHTxMK0pOQVO6Gbl394aiqxcHNOzDvUCVsPP3Q27MOac5RuD1UhyX7k6Eyq8VxvAS5ZnvxO9sVA4Nb3EfPXIkFM2ZjvX0fvHdtAHYs3odqXxEfpmYjsU6LAf17YGSU2xmf2N2SkIrh97+Jma//H64a1M3atwVzBWZ8/A0W+lyGmRM7iziwDul7E7DNEowJ7WyxaU8WvGKiEethZ52gdUpStuCTZTm4fNI4sT2sR0PDUbz/6VKoeo/Co30Dm/r9hZKds3HrYhfMenEEZNh3rt3ywhfYnngYiXPePast+c+Wf3L5huYlwdr/giJvfvL5L8uVSzXkCja/ZFJCLyroo/t1QXiAqIy1kF9UjlVb9qCuwaCMJy/D0CtP3NDAKFbaKPr16tgOcZGh1ima1DU0YvGWg8ojR+WNL1uSjxId1DkScaF+1j7HW7d2HRITE+Hi4oIXXnwBV1x5JXz9/ETgG4A+ffuIzzVi987dyBJB+PARw1FaWqpMI3fC6DFjENehg5JIUJIXouLft18/jLnyCiUxYBbrK5MOR44cgYeHB2bNmY1YUdn38fVFcEgIBg8ZjOzsLKSnp6OyogJDhw0VFVZ3ZZ5jrxmL+I7xotsNzmLZ5Pzk8sgkQ2pqqtiGNuggxtu7dy9yc3MRHRODqdOmKUkSebNO+ffyUaOU1hpFhUXic2Px/of/U5Iccri8Z4QcvnPbdmSJZZDrIKeRrSrk/OTnjbt2vHUrXdpUGgdRec9DTl45KquqoHaLgDfykJFTD//4cOhKspGeVY+O112LIbFRCAtvh85dw1GZuAnrDxrQsb0nSo4kosi1N64Z0x+xEWGIju2Edl4m7FqxAsVeUQhybERqQjr0/pGI8HNAXmoSSkVA3CXGEQmrfsPmqmhMmjAKnaLDER4dh86dOojAy055RK6NCARzcvNQXlmFeq27Mt+kIwVwDOqOuChnlB/OQIVTPK4Z1hGOtrWi0nIY5boQxAfZI2Hpj9ivE+XtWjHvyDBEte+E+BDRf/liZNsFINTbBpkJKdBF9MHVw/sgMjwCsZ2ckbopEXWO/oj0MSFxTwLyKlRw9fVHVLtu6NG9I0LEsp37gNmCiqObMHdJFtoPvxaj+sYhLEx81zt1QVy4H+y1ouKXkYgjZTrEdAlB6a7fsXifFmMmXIs+8ZEIj2qPLl0CULRnFdYcsUW3cFcxvyRkNHqjfWQgHGUEKyqj+emHUGYfgnbhXkhb9DN2VPrj6pvGoluE2BeR7dA+SoPU3TlwCIpCuK9j06KdQ6X7lmLB5lx0uPZWjOgaLb63UYjv3BntQ72hry7Aht/mItd/IK67cjDai7IWE9cZ7dwbsG3JSpT7RSLAwYC0AyIo6DwUVwzsJsqrCNijNTiwMQVazxDEtouAc00mUsvt0W3kcLT3tIPeVoPqwnwUllWgusYCD3HsNpVn42idD+JD7VGWk4asalfExgTDtj4L+zOMiB98NQb3EMsX2R6xotK+MbkUnsHt4JCzFvNWpCDw8vEYGh8Bf39RUesQL/pvEZW+fAR2CkZ9RgrytR1w/bUj0CkmDG7mEhzafwDZtXp4+wYjplNX9OgSB39REf9XftQtJhw9lIAqrS1q8vdg8bJUhAy9Wmy/TvB1toWqplB853LE97cLYnyaqj7GshykZJfBvV1nBGgqkXogDR79R2FM786IkOW0czxc6pOwfN1RBEcGIXf9T1hf4oOhVw5Hx9BABIZEid86b2SuW4wkUSbD/cxIS8yDe8cxGDeyN6ICXKFvzMfB5CL4dLkSYwZ2EGUhGl08arHjQArUPl0QUHcAixZtgKrraIzpE4dA/0BEto+Dn+EwVv6+Fy6DhqCdvQHpKaWIHjAUvaO8UJO3FXMWJiO032jlZtSBAUGIimsPp8rdWLKlBEFhLshJ2Iej9Vo4eweJfdcFPbp2QrD78TenPlcMhSlYsWgVDB1G4Iq+HREk1iminVg3ZGPN0p3Qx0XDoewwUsrcMXT0lejRIRyRUTHwFdtiS7YaodGxiBHf9XyxjVSBXTCqfxwcaw5h9oL1MIePxlWD4xDsH4CI9h0Qpc/A4lV7oA+Jh1P1YRwutMXQG67DwPho+DjboOSoKPflzhgx8Rp0iwoTx5Q4dOnoirQtq7GrxBOdQmzE8SMJZe79MGHsIMSL/exkKBPbOwO24nsR5m4ntuUmJBUDLu6+CI/rhO7dOyHK3wWm4jSsWPg7attdhiv6d2paT3HsD9bmYe3S7VC3awdfm3Oc9rU0ojj7AA6mlMPG3QPB4fHo1lP8roR5w0Yc4Muzk5BVaYOILjFwVSYwIj8tBcVmd3SIC4alPB9ph8sRM3Y8hsfHiGNNDDp1iULjkW1YtbMKsbG+qM5MxFG7jrjqisGIF9swql1HdAiwwf4VS5HrHArNwUVYcdgGQyZej36xEYgQ27hr5ygUb1qAnUV6MU9f1GcdEscGDwydOB7920chJDQIrrVZSCnRofPIyxHn4/gvJMiJ/j69d3vcMkIcX6uzsXblcrw5bSW+2VKIvv3DUbZzHRYd1KJjFzssfmsKNoUOwX+v7op+7XxQtG0FPi9xw2R/E75ZsQ2unYfg1sHx6OmZhamf7oKuezxCbK0fYmlAUkIiMnXBGBkLLPpmNQo7Dcedl8ViWFgFXvrfajh2aY9IhzNL2x0tKMX0xRsxflhPxIT6W/u2oLJBiI8aiUvW4ZWlu7ArLR8+0R0wuoMfdOWZ+GTxFuiDYxBwdBkmfLRFxKrBsGvMxryvp+O+tZWY1M0JX334Cd7aU4+4QDeUp6/Fax9tAmI7INLpj8iyruQotqdVITK+PQLtrZGAqRJbtqdBHRSDHo57cMcDP2O/nTMiRUB3aP0C3P9dAmL7xsNX90fkUJebiNmJKvTrHgiVqE/KOmWDyYyy1JW46/FFyBL1sihPJ2iqU/DVF4txxMkPPloD9i2fgxe3G3BFvD2WzJqDhRni98XbDsVpG/HxzB2whIljnuOJR54Fa3Yip6gM/zdhxAWZlJDkyXiZmJAnxOXNOU9H1u3dxTays/s34v5WklfLmM1N95A44WU+edOdyBB/3Hz1MLQPD4ZWo1GSEdW1dcgrKhEVfjMu69MF3UTAcdZZoLQ0CAwKsvZoIneEvwhOzNamRrJCKjd+a8ing8gd1pKcl7zko/m9HKeurg5vvvaGcmlFh3btlUszBvTtq7z69+mLLZs3w9a2+UjzB9lC5M/LJrvlU0Xk8tvb2yuXufyZXG/5uXJSeW8M0WEdQs1SVk7H0gSg3+TJmDxpEsaO6IswN7HdjjucyBLf4uvYWI968aXWODgdOzsjt7Gq5SiGOtSb7eBspxFTnqxciXmqtNDpbWCpqUZDi1Gad7UhcQmmrkhDyMCbcKNYvuuvHomeIU0Z8uN2ZfMHt/h8Wb5tbbVoqDPA1KIdsckolsuoha0oU8eWS5Sh5m+tvPOyQn4v1N7of9VNuPvO63FZr47wUOdizdyv8cW8Xaj7F26votHZQWeuR53h+OsM5KViLVlESKrT2ULTWIta8WNzjHxCj/gB0svvptxgYsOKb6LYNtbhWm3TelrJpKeyfZqu5lKIb0/zVvpX2NjqxWeKH4zqlq3QzDCKhVCJ46aNrQb1tQ3HLVOjLI8WHex0mmOlVjahPGGfHl9ooJYNz8zZWLlgHvZaOmPSpMmYdMM4DB8QCw9buZFajn+8lsf55tlLWr1ObF+5zezEstoqx0UbG1tEDpuEu28aDh+LSVkuuSjNu1HlHIAB427H/TePx+AeMXCqOYKVMz7H9FUHUPGvtIEX20IjKmgl9XBwjUK0Vw12bd6Pouam4Uq5EVp8wZuOty33gvhNtLQ8aphgqK+HRaMVk6nEd1Gn7Ae92Ca2YpvIFnJ2boEYfst9uKZHCGwM4rfTOuWfHdcc1npwkJ+jEt9hscthNOthK7ax3Nbyr1+3UbjzvusRI8pz05I3PbFKUmttxTHLBIvWRvmtUaaxdUJk7+tw301D4Ovsg37jb8Xdt0zA8F6xcDblYMVP3+D7+btxRlf7/EMaERfoREBpNIvy3Lx8Yp18Og7H7fdPQpy9TtkE8nt57N5VsqzLfn8qriqxv5S1FtPLGNViEcfEY9vJBi7tRuKeOyeio4cZjbKctSyUzeS+/2O3y7MkMBhNsBPH/mZysubDzrF9qLzRoP2Im3HvnZMxelBX+NtUY+dvU/HtrFXIE4G9rXU97Y/tB1t4dRiK2+6/EZ2d9MpszimxDEHxo3DH/bdh3IgBiPFVIX3bbHz27XwkFxmVJ6Apoyn/Sie7jFZsH1HujzEZxPHTAI2jE2zFhpGbQdlfLUZpFMfYOpMtnOzEutvrxTHXgIaWbanNdag2qEQ50EMeopq36bFte4z83lrfEl2ASjO245uVqYBnDK4efyN+eOEKDKg9jG/25EPfHIiI76GzkwV5haXWS76qkV8u4jb5vRKF3iLiFBtt07gGcTDSielO/B7+Qcb89iKOUIjjkoxrTjf+36eCS1gPvPHm49jw/oP47P/Go3vJWox8cg5S5PFM/C5p1VXYtDUXcaNH4coYDwT7xeCGYWHwcBC/SeK4bXb2wOCecejg746w8GiEuzeirPb4oFKn1YtYVcR/4nh7jAiL6kVAq5M/fGJbeHoF44oh8QjwcUev0SNxs3splu4rs478B62Yl5+zAzysLzd7W1FftSA6OgrDe0TD01GPI1s24sd8sR/278T0JZuxpdoDsbbVWLvzMFYlFiMrLxO/LFmPBfvqoHV0RXluoXV/XTou2JYS8lKGz2YtFb/fIpASAUHzS3bLiviVg3oizN/TOnYTGxGsdusQjZuuugwP3jhWaRUxemB3vPHIHXjklnEY0qsz3F3++KFvJp+0sWjLgVa3lDh0KFFZps6dOyE0rKkRoiRbQ6z4/Xfs37dP+bGbdOONKC0tOdZSYswVY5QWDxXlFUpLCdmao0uXLujRs4cS4MnLMuQlIBkZGXB0dMSNN9/UNGMrOY9NGzciKSkJTmL4mCuvxGsvv4KlS5col5B8N+V75ZKOO+66y/q6E8nJSUhOSlZaXvTr3w97du9GXm4efH19cPXYscrBppmc//Jly3D06FGl5cfQYcOUS2daWrp4MbKys+Hl5aU83nSfWNfcnBy2lGjBIygMurIDWL96D9KOpCI9swilJQWoVrkiJj4cmuJspGQWwthQhISdO8U23ImtezLhHjcEo/tHQGuqR+GRFGRXNaA8Ixm79+7G7h3bkFRqj77igBzn7QCzoRQpCYeh84tEpL8Dcg4dQKHZDe3iIpQzpqH2RVizbDm270/Cob27sDetCPYe/vAMi0KgKh9bN67FwbTDSDucgYLSYhTW6hAUFQdfRxto6wpxJGkfdqUcFV8Ie5grc1FkCUDHdn7wiYiHP7KxftkK7NyfjP17tiOxUIceo0ejU4AL1KZqpO07BINrMGLCvJSzTRZzESee+dEAAFAcSURBVA7uPgrbwGhEeliQvns9lq/disSUFKSmZaPOLgQD+neFl1PTE3HOHRX0jv5o394T+XvWYPmm3eK7cQA7dhxAMZzh7+WG2uyDSC/RIKRrewT7hqJdgAV7Vy3D+l0HcShhN7YfKkVwz8sxsqu/CF41sHdzRU3KVmzauV9pkXRY7NeqqnI0OgUhOswHgZHt4Kcuwoblv2PnwWQcSk7G0ZIalBfVwuVfaimh9wxHbLgbcrcuxqrNCWIZ9mPnrkOo0nrCL8AbIWK/u1YdxIpla7H3UDL27dqBI/WeGHDFCLRzt4O5oVyUtXRo/SIQ4e+q7KPG+hwcSCiGZ0S00gLHxtaI7JREHNh9CIUmH/To1g4NSWuwencyDqelIzu3CAVF5VC5RyM+1A6lWaJ/hRNiY0JgW5+BvSlV8I5oj0C3psvpDHmHIG+5ERLZHn5+wWgf5Y2SXUuwfN1uJKUkI2HPbhzKrYeTjy9cbWTrlGTkGLwQH+0PvaxUy2s+t67Gyo2ifCalIiUjFwaXaPTrEw8vu3NdzgSLCVn796DeKxa9+3ZGbFxnhJgPYe68tSjRe4n1CoWnuhoHN6/EHrl8qVkoLCtFaZURXu06wV9ThfSkFFQ31infxd1ifXds34sq53hcMaonPEXlyyUkDmEOZdi+fCk27U5UyvKePQdRaHSAt6cbbEyFOHjwKLS+sYjxtya46/OxPzEXNn6xiPKzJqvLMrDrSJk4NnRBiJ8nIqLDoTq8DotXbEFiagoOiONPQnoJdO4+8HLUicBOheqCFOxNOIiDmQ2I7NoDXdt5o2jvGizbsANJoowniGNOcnYNnMTvgrOmFik712LFOnEME9/5tPQs1DmHo2//Lsq+ONfUdiJIjY6ELnszFi3fhANiGQ7u2419qYVQufrAWxx3asT6JOVpEBETKYJLUTosRnHsPYDUOne0iwqGk6zM1uWI7XkAu5LyYRsQh4E9Y2HJ34LFv6/HgeRUZZ4JyXnQinl6OtugPEcc+/NNiOoUDRedjDMsKDt6GBkF1WgsS8euXXuwb/d2cUypRlS/0Rga7wF1Yy1y0xKRrw1Fh3BPUckQZbmmDGmH0qAPly0ltMhL2IyVqzeKciOOn+mHUWLxRbd+fRDh4yXWMwo2OVvEem5U1vPAPvEZKeKL5OItjq82x1XkzwmzqAhkJmD1yjXYkXBIHBOPIK9cg/Y9+6F9kDPcvcXxUhxjN23Yg1SxfOl5xagsKUGt1quppURZnvjNFN9VQxkO7Nklfht3Y+vONNhHDBAVhXbQq+T8k3C4rB7VR9OxV3wvdu/cigO5KnQfNQad/J3hFNAeMV5GHFi9GOt3JiLxwC5x7C1C2KArMLBjEORpnTKxb2WLONlio7nRujyGHU07JH6rxPav08InyBu25/xAQfT32LkGoKu/FkezC5B8tBg5VfYYPm4Ergp2ga04RreL9BXHNEe069ULA1wN2J1eiIIacZwtTEaSLgTjO4cgKiQY0V4usNeqobV1Fcf8EIR6OiitmRQqLbx8A9Ap3Afu9o4IiAxDdIAzHGUmVid+t8X40d4usNOc2RfkL1tKmKuQuGmDqAOuwLS1B/DTuu3YWmiH/7tzDLrpy7F8Xyb8ojrj6v5hKFy9EG/PT8CCA6nIz8nDoUYvTOzmjV0JyYBvDHoHOomYpQw7RMXfXrbkdf+jNYeNm4hNREz3+4JF+HzJfsxeuwPL9h7FgNFX4YbO3lBVZmDJylSk5qdh3tJdmLp8H/R9LsPDg4KOu5SrLucg5ibpcOXQqBaXb5hRWZCGHUkWxPWNhmwA6REejV76PKXVZ7mI5+vF8bFT3z4Y3SkUXQJ0yBHH79QyE+pqaxEQFYpRfWLgeHyVVNGWW0pcsPeUqK6rR+zYB2CS95SQZxJEP41WB72Ds3i5iW4V+nUIwz1X90fnyIDj7gVxptJzivHTqp2Yu24f6hsalQRES3LLKI8EvflyTBjy1/eUkImDW2+7FT3Fl1/eg2HBvHn47beF4gfVgOHDL8OLr7yC1atWHbunxGdffI7+AwagoKAA999zr3Ltjbws4uFHH4Wvr68yv3ffeQdrVq9WLpmQT+1oSc737TffxIL5C+Arhn/5zdf4YepUpVvej+Kuu+9SLgeRrRnq6xvE8szFvHnzlcISHByMJ556Et99+y127dyFTp064jsxbcukhFzGRx96GFu2bFESJa+9/jq8RFDZ0oP33Y+NmzahfWws7r//fkybNk0Ey9t5T4m/ofjgOvy2Ig2d7piMbk4ntmKBCMj2LfsJm9EfEy/vCNd/4QQXERGdSyakblqIFQkWXHX71Qg8VgOgZmVp2/Hboj2IunEy+nqeJGFrrEbyiplYUdsRE8b0hvdJfj6JSFQSiw9i6rw92F9hhkWlR/ehA3Bz14DzUqn9y3tKnKHa7PV4b2UDRvWNgtZUgLWL9sF2yNW4r8fZuTeXIXcVHnvnKCa/dQt6X0DHlrZ8T4kL9ldQrVLDzdUVap1eOaPrFhgNZ79w2Dp5KFkXjVqFrYkZuOX16Yi96XWMePRTfDZ/PUoqm+/QeiKjyYz56/dh8is/IGriKxj95Bf4aeUu5d4Tf05INLEoTWijAo9vkdGSbL0hWzi4urjgnnvvwbp16zF54iRMumGikhyIiYnB62++gdfefFNpZSA3vmwSahZ/lUyLIBMOX3/7DW686UZl+JOPPY5H/vMQkpIOKTvTLJb7lLkj0V+ZnxwulvX5F17AG+KzIiLC8dGHH+GqMVfg8hGyCemdcHRyQmxsezQ2NCjNm+Qc5Xzl9KeaffP8T5e7UualzE/8Z31/6hnSn3nGDcLtD99x8oSEpHdDp6vux31XMSFBRNQ2aBDVbyzuv+8aJiROwS2yJ255+J6TJyQkrSNiRt2NB8YzIUF0OjrPONx19434+Imb8cnjN+CW85SQOJvsgwbihduGo0dMKLrE9sIjT9591hISkt5/GD758MJKSLR1F2xLCalRVMa//nUTfli6FeU1dUriQD6f9VTkqsibWdrqdejZPhQPXzsYXm6O+G7xFsxbtxfVdQ3iSyivfT31V1GZh/hceSlIv/hwvHjbKPi5yzsyExERERERUWvIlhKX3fcGfn7zQVwxsKu1L52pW1/8AlsPpOPQ3PfaXEuJCzop0ZJMFPy2aT/mrN2DnclZSnJB+6f7P/xZ86q1vCThZOR49YZGRAV644q+HTBhaBf4uDERQUREREREdDYUlVXhP+/8gKSMHEwa1Q8+7i0eP0qntevQESzcsAcPXD8Cj04eZe17YbkkkhJ/Ju8HMf337UoLCIPRDNn44a+SD83kGsvLHeToPdoF4/6xA9E1Ogh6ebdVIiIiIiIiOifKqmpQUFIhKqUtnv5Ep2Vro0egjztsWnEfxX/LJZmUaKmx0YTZ6/bgl9W7cSgjX7lXgk57/EYwmeVlGSYEeLpgVK843HFFH3i5nvs73RMRERERERG1ZZd8UuLP9qblYOnWg9hy8AgMjSa0D/XBFX3i0Tc+HHb6Cze7RERERERERHSxYVKCiIiIiIiIiM6Lf5KU4HOoiIiIiIiIiOi8YFKCiIiIiIiIiM4LJiWIiIiIiIiI6LxgUoKIiIiIiIiIzgsmJYiIiIiIiIjovGBSgoiIiIiIiIjOC1VdXR0fCUpERERERERErWY0Glv1SFCVRT5QlIiIiIiIiIiolaqrq1uVlODlG0RERERERETUav+krQOTEkRERERERER0XjApQURERERERETnBZMSRERERERERHReMClBREREREREROcFkxJEREREREREdF60raSEoRIH0/NRYTr+zp/VxXnYX1Rt7boImatxOCkZ6bkX8Tq0gqm6EMkJu7Bjxy4cSM1BldE6wGyC0Xw2nmRrRGlmOvLKG6zdRERERERE9G9qW0mJsoN46YvlOFjXXHttcnjjIjy7Ns3adbGpxdbPX8Gn85Zg1ocvYW5SnbX/+VSL7TM/wxe/7Ma5qc4bcHDhB3juvUXQR3dDjx7dEOFUjZQ9e1FsAMozErA7OR8m69itV40d0z7H0j0l1m4iIiIiIiL6N2leEqzvL341RzF7cwHC2gfBrqEB5dV1yutI0gFs14dhUowK07+dhm/2N6JjmAeqDm/EC5+uQUlANDrk/46hbyyBTUgMAquT8czbUzG/SI/ufrZYMvVbfHjIFld2dMCyb2bgl1JH9Ax0RkX6NjwzfSMcg8MQ4qy3LsSpVGPLtHewIMcXnSM9oFVZe5+WBTlrvsUX+zzx8FP3optbDubN2gLf7r3gYwccXvo+Xp2ZDP8OEbArS8DC1TnwD7LD9h/fwndb6hEe44PGzC1YtqMentiPz9+fggLHCAQ4m7Fnznv46vcyxPcOxqZXHsdqY0d0DXeGqi4NX772A9KcQxGh2own7/sQR91jEO2hxb7Zr+CttRoM7+KG1J17kGdyQ5TY1vZaNU6/OtXYPO1tse5+Z7juGngGBaL+8AZMnzITS9cmoNQ2AJ27dICPgxbZa/+HLzNCMCakFtP+9xpWFXkjOsARhQnz8dyr36I0eAjCUj/Gg28sgC6iI3xsirDo07ex5KgrOsX54489VY/09etRE94fIeZNeO2+j5DlGYNIsa6Jc97AO4sa0GtAJMSmJiIiIiIiotNobGxETU0NKioqoFafvv2DxWKBu7s77Ozs2uI9JXQIC/FBqJ/HsVeEmxZajRk1GVlIaHDH5Ct7IdDFHgGxfTChixYJ29ORL6ZzCorAsPZucPNzhburB7q0C4Gfpxsig53R2GBCfcFBTEmrhbE0E9MXr8O8xHrEBHqjqsZ8BmftHdHn5ofRs3gBvpi5GaVma+/TqD+yAVN/3ASdixlbF8zGhlQjNKVb8d3stSgzFmDbqgz0m3gr4j2d4RzQA9eO7QmbmhTsP2TB5deNQoizM7yiB2P85SHI2H4QlqgrMLpXMJyd3dDrikkIV+3Alsxy2NrYQKfVNH2oWgudTge1SiUKigZePrHo1zcCjk7OiIwIBurq0ai3hZ2NDnobB9jbaP8iISE5ou9Nj1jXfcsZrTvsgnDlPf/Fp199hU/efw639NbjhzeewZx91bC1tYWNzoySrAMoMUThipFd4OnshNAOl2FwJw3MYv7y4g59lyEYFOUDJ+cAhPu6wba2Hn+6sucYsxjgGxaGHt0i4CTWNTwqCqaqBhzf5oaIiIiIiIjOpjaWlFBBI9aovr7R2t2k3iSqzSYzHCI647krI7BlypcY/8zXGP/SVGzTd8VzN3SEh1FMIyrizWRmR23tVIn+KrMY7tsLUx/sC6+SbGw7lIX9KRlocPdEv3AnWKv0p2FCRUEZIiY8iYcn94X7X2x5S3UW5k37CaqRT+Kdp+7FxIkTccPN9+CN955HVPovmLGuDuNffgq2a97AE08+jsefeA6fLzoIrWcv3Pafq5H6wwt47InH8MTTr2LWtkp0n3ArLvc5iLeffgyPPfYU/vvp74i46klcGeaP9sO74/Bvr+Oxp17A598vQXZZPXRauYAqZTsc2yoquU0sMMMeoVFeyNv4OZ7/ci0q/rLmLta9sHnd+/zlusNiQk3ufsz+5l3899kn8PjjT+DpT1Yh5pqHcWW8I4xGMyxGNbzir8D1YwIw7/VH8cjjz+CDaUuRWCyWWS6wXNbmHSiolGX/o7uZSq6fMv6f11V2nzg+ERERERERnT0qi2w3QXQxqsvFmuUrkYkwxPrpUHpkGw4WBmHc3eMQZmsdh4iIiIiIiM4pmVaQl24UFhYiMzMTGs3pT9ubTCZERkbCzc2NSQkiIiIiIiIiar1/kpRoY5dvEBEREREREdHFgkkJIiIiIiIiIjovmJQgIiIiIiIiovOCSQkiIiIiIiIiOi+YlCAiIiIiIiKi84JJCSIiIiIiIiI6L5iUICIiIiIiIqLzgkkJIiIiIiIiIjovmJQgIiIiIiIiovOCSQkiIiIiIiIiOi+YlCAiIiIiIiKi84JJCSIiIiIiIiI6L5iUICIiIiIiIqLzgkkJIiIiIiIiIjovmJQgIiIiIiIiovOCSQkiIiIiIiIiOi+YlCAiIiIiIiKi80JlEazvL36mBhir0wGNFiqNrVg7a38iIiIiIiKiC4HFDHNjLdRqe2gcgkW99eJvKyDTCjU1NSgsLERmZiY0Go11yMmZTCZERkbCzc2tbSUlTFVHYFGbodLaiq62k2shIiIiIiKiNkSlgqW+AmobX/Fyt/a8eP2TpAQv3yAiIiIiIiKi84JJCSIiIiIiIiI6L5iUICIiIiIiIqLzgkkJIiIiIiIiIjovmJQgIiIiIiIiovOCSQkiIiIiIiIiOi8u6aSESq1CfVkGkrbvQFG1UWwNlbW/FpbaYhzZuwlpeXWyj9L/wqeCxViH3KRtyM6vgUXTcrktUGl00NjYNK/mWSAfY1OFwvwKGCxnaSvJR+MYDSgrLkFVvUl2nkcq8Z8RlcWlKK1plFvQ2v8CodLAWJGN1L0pKDO15hG4cv+VInX7cuzesRsl1eaL7BHJKlGe7aDRioUWBUVlakBpQRmqDSbr8L9PbBE01lSisKgKjaLrAtvjRERERHSeqGS8eZLKycn60d9zSSclLGbAwTsKvvZ5+PX9F7DyYBU0eltUZ2/Az++/iT3VAQgLcoZa1OKbC6FK1NqOlTvZfVwNX3a3GH6MtX/L+fxpvKb5thh+/MAThon/reT7pmnVYp5orMLBlTOwN6kUFq3mWKVKo3dE8Z7v8cXzbyCxxGhd7j+mbXo1vT+ZP8Zp+QIMDZVorC9Hg1EZSfz/p/VQ1rNpniffBsd/nuwym+vRUFmGxkYTzGJ+cr2OTdM8XdPoJzjZdrR++nGffyLZ/8/Tit5GI4z1xWioaxDVVTn/P49nXT5lFqL7hGUVLznsz6zD/iC7Tzcf67AWVBotDHl7sWHBOuQ0mv/YTspf60hyvifZJvKrr9EWYvH/nsNeQ2/06N8XXk4a8aU4frymcZscW1el/x/9TjX+8eSwU4z7p35N4zUNUqY7YVs0jaPRF2PhyzdjypKj0GjUMDbWibJYgnqD+GLLeZwwXfN8W75v0rxskkmWZ1GuTUbRLcY7vvz9MZ50wjpZxyUiIiKitsNiseBoTgFSU4/AYGg8Fu+VlJQhKTkdNTU1jAH/Ac1LgvX9Rc9iKBe1BIuoGGitff6axWyGrW8cenQJwv6fX8OaXck4uD0dHW56AcNja7H4/RewJccJgRFBMOXtwcKvX8buqjh0iHPFkVVf4ueFRxAc1wnODlrU5+3A/M//hxKn7ggJcoRKnr2WrRPKD+LXz1/Csh3V8IyMhbMpG6u/ex4rMt3Qvn0UTAXb8cvHHyBbGyumc0HRrrn4acocNAYPQIinETt+fBkL11fBO7497KsPY+X372Bjngfi2vmjdN9s/PDlXNR7d0aAmxkZ2xdi2648uEf3RWSEG9QmUUET1GKb1OTvRdphA4K7doO3swY523/BrKm/os4rVkyrQvKKbzFn/hroQvrC312lJG3k8qtLE7Hos4+wwxCOTtE+qMnYiU3bEqEX20196GfMXZCPoJFdYdw9B7O+/AnFLrEI9tbj6M55mPPRJ0jRRSMiRI8Vb9+B5btq4RASAw+bCmz45hks32mLqN4RsDU3nelXazSoLdyHhT/OgTZkMIJrVuHTt95CUqkX/CNCoM7fhFkfvowUuwGIC7RXppFkRbU2Zyt+/vAjZKgiEBzgguKEpfjl289R7D4MkfbJmP/xS1i+pRg6v1C4O9pBJ+rgkkZlRsHW7/DNjxvgHjcE3k5VSF79Cw5URyDcJQ/rZ85BmkM0YvzU2DHlRSzcXQOfqBjY1edizdRn8OvK7XCMHwvXjNn4/n/v41CVHwLDA2DMXI9fPvoMR9w6I8bfSRTNpnVUqTXIW/UZZszJgf+gOLhaREW2cjdmvPMSikKuhkvOAsx47x2kGUIREOKLxtxt+PWz93CoMQhhEQHQW5paAshy3liYjP0Ja1Fc4w//MD+gYC9+++Jt7KwOQ8doX5QdWoJZX81AhUcnBHnrRJn9Hr/M3wS7iN7wcS5H0rpNsIQORmyoPWpSV2DmV9ORhWAEBzqLWc3Hz1/PRY1PB4R4qLH/p+fxw5xtqHcJgaeHKFsVhzD3w9eQ0hiNkHBPVOxfjJ++mYoKv34IF59lXV2IXYq83fPw89R5qHGPQ4CHBhlbF2FrYiMCIuzENn0NS3dUwSsyGnY1R7DqB/E9THVETKcw1BxZgh9eeBOp5kD4h/jDnLMB097/ECX2PRERrMLhLRvR4Ncf8VGeMIrttOSHtTB27AT3hl2Y9tRzOFDjCZ/QEOjK9+Cnd17BEXVvxLmn4ef/fY9Mr3hEeTlCo6/H7p/fwm/bLYjvEIySTT9h4Z4GRPZuj+Rpj2HWnO0w+cTDXyx38uL3MWtWKvz7d4UmbxvmffQ+UkxhCAl2R3nqWiz48A3sKHJFSFwUHFUmJZFFRERERBc3mXBwcXaGs7MLjubkoaCwCMXFZXB0dEJQUCD0Op0Y629GfjKJYWyASivqjVo7a8+LW2Njo5KgqaioUE7snY5M9Li7u8POzo73lFCYjTC5ROPK/zwA56JMRI57DD2inHF4zXc4qhuOKyb0haeNBY7B3THhmmtRs30B9pdZoDnhrHvzmVRr5zFmsdEDEDZ4CMI9tdB7+MEvOAQor4Kxvgb7l32NSttQaEs3Y/38n3AwuwG+jmokbtqK/aJifzCtHt7e1UhePhNr1u2A1t0fdbvWYfORbOzftEZUkG5F387u0GrtEdp1OKIDzLDmIlr4Y1nV8gx7eRb2bdmK4CF3oG8nb2jEtHFDJ2JQoB67tm1GmVHfdJmHyQiLZzsMmDQJ7Ru2Yt7Xn2H2bytQrXaAnU5+8eTZYS201UdxeGcKdH2vQ7+u4ospvlhhHfshNjoMRpOoRItCZ9a5IaDTcMQH2UJj44Xo6BhYqstRLT7n+ILYtKzNm1FrF4v2w3rBx9YMh7B28HNxRENZddMXuZnZhMRV04B2t2LkZdFw0Kjh33kUrh3YFanrFyKvTiyjKhARl1+BLuFusNFajlWaTdDAs9v1GDeiPXJWfonpn32LHUca4GTXtFTKsohXXeYGJOTr0feqGxDqAuhdA9B72HDYH1tSUSa03dFpZGe426jhEhQJX68G1JbXic9qsaySdZ5/kN2i7Mi3ojyavbqhd48O8LBTwTWiLwaN6oWiXRtRUlgv9l/L6Uxi+3dVPtPTRgX74F4YMWYgGjetQ0JxBvatmguTWwAMh1dg9YK5OFKph7uxHHu27UIFrPtY7D+VqRh7NqwEOozFiH4xsNNoENz7WgzpbY996zahrt4kFssV/vEj0LN3JFx1Jhxc+imKNGGwr92JTfN+xJ70Cvi62SN51QpkGXWQiykTMA3lmdi7YQMCBt2Bfl28oVXrEdbnaowe0xM1e2fjUHEIhk+8AiGuaui9YjBq/I1wOrIOWzMrlP2q8Y1D5+494OWghp13O4R4G1BbVQVL8/ZStl3zX/GSb8U2VHuGI67HAPg7qaB3a4cwfzPqxQHSLFZa3TyeVfM+tnb88V6UTPuYUegfK75fOkcER8TCwdyAqvpyFO7cgsqwKzBwaDwctWr4RPZAj64dxHfvhC8fEREREV3kLBYzKqtki9oGuDi7Qq/Xo6y0FIaGOhk+0j/ApEQLZlEBNzYaYJI1elM9woY9gBibdaIivgiHC0qRu285fpi9GN6X3YgubjrYOLkDRYeQnHYEZbnp2L1uOQ7nyzrNn7NkFlG3N8LUXAsWLDIRYhQVSq0t4sT8HBoKYHTqiB6XjUKP7t3gFt0ZvUcOQnzXEYgKtUdxiSPCe4/AgCFDEBQUhqhx12NgRDC6XHYFCjd+hd9XJ6O0OAcH1v2Kgxlivn/K1IkquKhU2UJd///t3QdgFGXCxvFnS3ogBUIJoffem4IiggVOBEVRUewd+53Y+1nOXvEUUFFBRHoTEQUEKaEISC8hEJKQkN63fjObRUDR7xDvloX/727Nzjt9dhLmffadd3KUsX+XMstrq9t5/ZXx3Xua//1m5WXv0/JpY7QkJ0q9zz5L8bYKmY0XzFsEvAe3aeW3y5Qd3UnnXDpUfbs3VvraZcrIMn8BPXIbx8wZXVcteneRdcUEff3dOuXkHtCmHxdo/bYUhdjNlivmMXAaFbYjj4Hbdwx+fbTMJhrm8fJNeuR7H69R3zx6OT5Gxbrd3+5UxO6PNG3ycmXkZGvL9xP0xbLd6jDgMtUJL1eF4+jP4BCr162c9d/rh/UVSjxjoIYMG6SaZVu0ad1uuYwKrNf87IyKZmTDvurRJERLJo3WTyk5yk/drO/mzlOZ8Vvk+ztkLOfo/fmdbTVUja8mR8lP2rZmn/KyUrVk9kxlFuQbcxhLsoXInp2sRYuXKyXjoPYmz9b8WWtV/6zzVKNWmHGeHrE8r0Uux3IlT12qlKx8Za6boxkzliq6/wXqkFBXrc4aKEtBjkLqdFfPfkZZ27ZK6NRLvfp0V4wqfGmm2zjvZUtQ9/MuUeS2qZoyZ7mycrK0ce5YfbvGqjMH9FVUuMU3ne93w2S1qUX/6xTnzlRZeEt1PvdC9ejRTbGNWqvHkEGqbzN+j4zNND/jsLiG6n7BAGUvHq353xnnWk6G1s/9RF99tUxRXUeoS8Mszf/wM21MydLB7cv01ecT5exwkc5qEOs/R1y/BEhHH1OrcW5ZVLR/h9L3pynfaWYRv3femL/fxnzG56PIeEVHZikteYMOHMzWrhXfa/1P61Vu7JP5OfrWaeynOatvniMTPnO5Tpec9irGudJPNffP0dfTvtP+nDylrP1ey5I3ym4zlmPzatvX4zRx8loVmLd0+GcHAABA8DGvRQ8a13sej0UtWzRXrVrV1bhRA6NeVtcoz1dJafkRX2rheFm8ZruJU4S7KEVeq8dX0TcrL8fPvE89xNeM5pd6iHFy2exGmdn8xDxUR1VS/ONs5jijzPyG1KjYGLXEoyuiFmO5IUbF/IgKqtUeaizaLY+zshJrfqNsNZflO5mN5Rjr8bgqK0a+9ZhNgg41gfEYlbQjKlxmyweLv+Jv1LqMyY33HjNc8U/wC3M5ocYMxjrMbTT2wwwdzPl9tSajMuY1tvHITT/kqOnMffUdh8rOM61GBUwur4oP7FBafqgatG6ncGM/ynZO1+TPlqj2wFt0TufasluMY+M+vF2H5vU4jP3xlVSyGNNZzXsrzG302oxtNt6bYZFvIv8+eI1hY52/ZrY2sJrHyjyO5nYeOubH+AyOcuTnbDKPsVH5NPu0sJnH1my94ChX5q4tclTvrAa144zlZ2rzpFf0XVpTXXzHFaobaqzPZjE2zTiGvoX4t/V3Pwv/+o48d4xzIiP5S01bcEADrx+p+rWN+X9zPhzBaje2z9hXc/m/nANHT/t7n51vG0KN5R/5mfjOQ3Na8/gZFXhfIFM5rXlcLUaZ54jg5fD05nH7g+00HD7HjQFjOV7noXPNPPbGMsz7PHzbbxxr/zrMVjhWu9WY1nF4Wt8xNffBPH+Nc8huzGd+XsY+WMz35nKN32XzHDo8n5n1hBmLN+Yztq9yueZ2m+sz9tO3/W5j892Vy7Qa56Xx+VuMeSz+eXwOHW9juLwgXXvT8lSjZQ/Fhtnlzf5RM8d9oorWN2jQwBYK9xrLNH/Hf3V+AwAAAOb1tre8QNawWsYr3l8YvMxYwbx1IysrS6mpqcalvXlt//vcxjV4kyZNFBcXRyiBv45ZrSvOz/Q1Y/LVsSOqK75mTUUZdcGjvt0PVuYfDmepcjPTVFpeYe6gIuOTFF8tUlbjl+qv2EMzYXWW5iqv0KWYagkKM+rwp85v6KnFzG0qinKVc/CAXGbQERqr2Bp1VDXKcmqc7wAAAPjvIZQglAAAAAAAICAIJX4JJcwvtwEAAAAAAP7nCCUAAAAAAEBAEEoAAAAAAICAIJQAAAAAAAABQSgBAAAAAAAC4pR6+obXVSp3cYoUGiaLLcJfCgAAAADAycIjr6NYFoXKFl3fqJXb/eXB60SevnFKhRKHGbvEE0EBAAAAACcji8X/5tRAKAEAAAAAAALiREIJ+pQAAAAAAAABQSgBAAAAAAACglACAAAAAAAEBKEEAAAAAAAICEIJAAAAAAAQEIQSAAAAAAAgIAglAAAAAABAQBBKAAAAAACAgCCUAAAAAAAAAUEoAQAAAAAAAoJQAgAAAAAABAShBAAAAAAACAhCCQAAAAAAEBCEEgAAAAAAICAIJQAAAAAAQEAQSgAAAAAAgIAglAAAAAAAAAFBKAEAAAAAAAKCUAIAAAAAAAQEoQQAAAAAAAgIQgkAAAAAABAQFq/B/x4AAJyEKrJ2aeq3qzR33V5t2FuorFKX3DaraifEqWXThurZupGG9uusOmGV03td6frkxc/1QUas7rp9iK5sU71yRIAVJU9Wz1d+UvU2fTT18f6K95cDAIDgZsYKJSUlysrKUmpqqmw2m3/MsbndbjVp0kRxcXGEEgAAnLwc2vbDVF3/xlbVOe8cvTa8p+pGh/rHGbwOFeela9rEedqYeIaeuLi9ov1tIN2uCpU5LYoMD5XVUlkWaMVrp6vf2xtVrWUvffbgOYrzlwMAgOBGKAEAwKnIU6pFX47R1RNLdPn1A/Xi4HY6IpL4fR6npr3xjO7YWU9v3DtMw5pV9Y+QSnNSNHfBck1etk0r0hwKj7KrcaOmGjaknzqkztKV07LU/5pr9Wa/er7pc5Z+pu7v71GPv/XTY22s+vLrVVq1JVPb8lxSdKz69Oiie4edodbVIn3T/5FjhhIFy3XTnd8opUFL/euWTtry/Y+avnaXtqY7lG8JVce2zXXT5edpQLPqCjlJwhUAAHC0Ewkl6FMCAICTlTVSZ196nabcWF/rp09Ww8ueUtc7XtOQxz/SbW9N1hc/blGh69jfLdhCQhUZapf9UDMJr1s/zx+njrd9qnnORnr95SeUOu0FbfvsWc195ioNTMjQ9OQieRSuUNvh2r/FFqIqVo/2bdmrfdHN9PjfR2r22Oe0Y+qL2vLChYpN/UHnPjlD6/LK/XMcJ4tVEZF25eQc1Mq9Fg0aPkJfvfm0fp78gtIm3qYrE3L0wINj9OHGHPEtCgAApx5CCQAATmKWkKrqPugqLfz4We2f/JSS37tb42/vqUH1bVqycJEG3fqM6g5/QTdMSFah0z/TMTgLV2v0uL1qdWZPPXllDyWGH/kNhl3Vkzpr+Bnxighx+8sO8cplD1Wjdi3Vv0GsjmysYK+eoAb1q8qSX6ICt8dfevzcxipr1UzSgF6NVdXuLzTZYtWqXi3VVZlyij2EEgAAnIIIJQAACCp2VUlsoQEXX6L3Hr9di8Y+pE/7hGve7B/01uKdv19xN2r+Tq9FNqtVRzSEOAqVfgAA8L9GKAEAwMmqPEufvvqiOj74mWZtOaASx69bMThVtG+1Jq0sVLVacerYpNZRLRmOFBLXVTdfmaBVi1fo9ZnrVXhUwwavKgq26ps1+apwcmkAAAD+d7jyAADgZBVeQ9c8cI8mXlpX6xfOM97/U80ve1gJA0ep5uCH1fL6l3Xdx3vUfOhgLXzxeg1sEO2fUXJWlKuozCGnx9/+wRKirkNu1bqXL1CtPT/q4usfU9KQh9V+xJM65/7Rem2FVx3bVlVEqFeeI/rA9rqdKiqtUKnz14GIySOHo0KFpQ65/oN+s81lFZeWq6TCdbhVhtetMmP5JeVOY2m/5pXbZcxTUq7y3+k7AwAABDeevgEAwGnCa1TwKyrKFR5VxV9yBMduvf38NI1LC9XjT96pS+ryvQUAAPjPnMjTNwglAAA4TZRlb9P4rxZrysZsZRQ5FRlilV0eVbgtCo2tph4d2+reYWepXsTv3QQCAADwW4QSAAAAAAAgIE4klKBtJgAAAAAACAhCCQAAAAAAEBCEEgAAAAAAICAIJQAAAAAAQEAQSgAAAAAAgIAglAAAAAAAAAFBKAEAAAAAAAKCUAIAAAAAAAQEoQQAAAAAAAgIQgkAAAAAABAQhBIAAAAAACAgLF6D/z0AIEhlZGSorKxMFovFXwIAwcHj8ahatWqKjY31lwAAgo0ZK5SUlCgrK0upqamy2Wz+McfmdrvVpEkTxcXFEUoAQLBLT0/3/axVq9YvoQThBICT3aFLUPPCNCUlRYmJiYqKivKVAQCCy4mEEty+AQBBzvxHwPzDb7VafWEEgQSAYHDo75Xdbvf95HsyADg9EUoAAAAAAICAIJQAAAAAAAABQSgBAKeTwo2aPO4DTZqfrLVrVmv16srX2p+2q9A/yYnyug9q6eTPNXdVmrxF2zRz/Dh9s7vYPxYAAAA4jI4uASDI7d+/33dPds2aNf0lf6Bwk6bPWqNqvUaod31/2SGOAm1ZukAbS6JU1e5UQX6BrDH11aJRgnJ3b1FGbpHsCa10Tr+uqmZzKT/lZ63YsF0FFV553FYlNOuinh0bKEq5WjTjO6nZuepTL0dzZ69UeM8h6tuADuwAHNvOnTt9nfVGR0f7SwAAwYSOLgEA/xmzE0yPW2k/favvv1uohQsrX4uTd8lhjHI7KmRNaKY+Fw7SsKFDlViWoozSaJ014BJdcfXZCj+wXRu2mm0q7IpJbKxWLZqrabNW6taxpbw7lmplSpZcVotcFRVyuDyV6wQAAAB+B6EEAJxOzMZxVpvqtOunc/qeq3PPrXyd3bWxQn0N5yzyejzyxQlejy/19po/Dw0bP6whYSpPW6cvv5ijgvgW6tShrRrViJLXaYzjyR8AAAA4DoQSAHA6CamqWrVrq2TLXM2de/j19cI1yrGFKqZGHSXGR8nX4M5qU3ztukqIiVBl1BCpmklJio/wKjypowb0bafcnxZq3oLvtWxrusLNaaPCjGlDlFAnSQlVQyV7lGoY76tH/nETPgAAAJye6FMCAILccfUpAQAnIfqUAIDgRp8SAAAAAAAg6BBKAAAAAACAgCCUAIAgZ6FzSQBBjr9jAHD6ok8JAAhy5p/x9PR0OZ1ORUZG+sq4wAcQDDwej4qLi333FMfHx/tLAQDB5kT6lCCUAAAAAAAAf9qJhBLcvgEAAAAAAAKCUAIAAAAAAAQEoQQAAAAAAAgI+pQAAAAAAAB/mhkrmB0XFxUVKScnR1brH7d/MDs6rlGjhq+TdkIJAAAAAADwp5mxghlI/BmEEgBwCigsLPSl0mVlZb5/FAAgGJjfpEVHR/u+LQsLC/OXAgCCDaEEAJzGDhw4IKfTqVq1av3SVM5isfh+AsDJ6tAlqPn3a9++fUpMTPQ14wUABB9CCQA4je3fv192u101a9b0lwBAcNm5c6cvWDVbTQAAgs+JhBI8fQMAAAAAAAQEoQQAAAAAAAgIbt8AgCB3XLdvFG7S1KnLVRhWTXGRVnld5Soocqpm657q3amxomz+6YJJ8VbNnL5cEV2vUf/mdn8hgGDC7RsAENxO5PYNQgkACHLHG0pMn7VGcWeM0NkN/WWePZr12WK5mvbTkC5VtPPn9dqdVSK3JUTVk5qpdau6Mrueq8jeoXUbdyvf4ZU1NFr1WrRXs8QqUtkBbVi3SZmFDskaruoNW6lNvUjtSF4tS732alUvThZPoTYuWytXzZbq0KymrCrR1uVrlR/bXD1a1lB57l5t2bRDB0qcxiJi1bhlazWuaSxb2Vr3w1a5YhPkzc5UePN2alMnTjnb1mjj3mw5FGFUZEK1e+MuxXa9Un2bEkoAwYhQAgCC24mEEty+AQCnFYvxr4ZHJdl7tT8tTXt3bdS305coNyRBbdvVkdcSoZoN26pb957q3b2TbDu/19fLtquieJfmf7NEmdGtdUavs9XnrJ5qkVhFVm+RVsyZp20FVdX5zN7qc04vdW5SQ+Fh4Uqo7tTaZT8ps8irvPU/aE1qlnb9vFo7Dhrr37JCybsKVadpVe1JnqYvF2coqfO5uuCCC3TemS1VtnGWJny7TUXOcmXsSVWet4a69u2jdnU8Wj7tc32fEa9z+l+oC/r3Ufv6ccZ2eIx/DP27CAAAgKBBKAEApxWj5m6xqkqteqqTlKR6jduq3yUjdO2VA9TQm6Ufpn2q77cXqEpsjKJtFSou88jidcoV3ViDht+owd0S5CrI1M9L5+ijT2dqV2GYzhh6nYZd2EURFXnas2mxJoz7VEv2uFSrUQe1qJql1ctn6estXvUeMlg9G4dp8/KZmvPTQdXqcpbqWj1ylLtkjYhQRJh/E0PCFBkVLk9Fhdwer+/xpjab3YxTJGepShxuRVSJrRw2WEJCZOdfMwAAgKDE7RsAEOSO7/aNzZo1d51iu1+l3g0PVev9vB7lp27Q0tVbVGKNUhUzGMg9IDXopnO71dX+lUu0dm++LDabPN4Q1WndTd1a1lDu9uX6cX2anFa7LG4pon4b9e3aUlF2qST1J81ftEK29lfq4g4x8pYe0KqFX2uztZOGnd9WkebdFh63snYma9WGVJV4LPIoREktOqlb63oKs6Vq7oTliugwUOe0qlq5mY48bVq2WOsPlCs0JEJx1SOUuz9LNbpdoT5NuH0DCEbcvgEAwe1Ebt8glACAIHdcoQQAnIQIJQAguJ1IKEGDVwAAAAAAEBCEEgAAAAAAICAIJQAAAAAAQEDQpwQABDm3262UlBRFRESoevXqslqtvidWAMDJzul0KiMjQ+Hh4apduzZ/uwAgSJ1InxKEEgAAAAAA4E87kVCC2zcAAAAAAEBAEEoAAAAAAICAIJQAAAAAAAABQSgBAAAAAAACglACAAAAAAAEBE/fAIBTwMH8Io2dsUgrf94lj8fjLwWAk5d5CRoRHqZBvTtpaL9uCg2x+8cAAILNiTx9g1ACAILclIUr9dgHs+QNCZfNyjP+AQQXt8ulmDCLvnjuNjWsU8NfCgAIJicSSnD7BgAEuazcQhWVO2Sz8ScdQPCxhYQoI6dApeUV/hIAwOmEK1gAAAAAABAQhBIAAAAAACAgCCUAADjVeL1yekPUoksfffDMLZr94q2a9dJtmvzIJbq+U22FVUTrgr8N1OvX9lAzY1q3f7YT4TYWUq1GT332wnUa1rWOSiv+iqUCAIBTHaEEAACnGKfFruZDR2jK3W21ZvY09bz9VfW5+21d9cYipThtig2v0JZNmzRp+S5t8XrMm/rVoHEjnd+jjS7q0UK9W9VRzw5N1S4+QnZPvLq1b6KeLZJ0RufWuqhnK/Vr30CNYqzyHNFVtvnWbo9U/drxxvJtciXU0Bkdmqhbk7o6p3sb/a1HK/VtU0e1Qi2+aQEAAEyEEgAAnGLsXpf2TJmkuz7ZoX7X3KjMGS9o4/t3aOxNvdTA7tTBguq6YujFeuXqzgqpVluPPfOAvrq6vkpSN2tq8l5Za7TSv+4fopuaVVOEq4UeHXmp7j63nlK3bNGsNQfU95LB+uLBQersdsvpX+dRjHJ3x8567u7BurWzVxvWbdS8neG64toRmnh/R19LDgAAABOhBAAApxqLRQpxa/3Khbrk5qfV8Iqn1WHkB3pkkUV33jdCL1/QUnHlTjm8UkJ0qLomWrV+SYp+2l0md2m+tu7arnyP7ZeLBIvXo6yDB7U9zylnyQFllZTLa4ytaoz7o3jB63EpY/9+ZZS5VJxWqpx8l3HlESEeXAsAAA4hlAAA4FRj1PobdWynJx68U5u/fEI/vnyzZrxyr+Y+0FTbFi3Uy8m7VBgdqfioMKXuydC9o5ep6mVXaMGbN+q1h27UR38fpAS3Ux7fomyKDA9VeIj1lwAiNDRUUWF2Y8zRLBa7oqyhCrVZ5LXZFWlMF/bLRFaFhYUq8nABAACALF6D/z0AIAiNnrxA//xsgWJiY2kWj6O43W653J4jWjNYZLfbZPxfTodbbo9X3qhq+tuQAbohKU/jZyzRCmtTPXxlf11QLU1/f3uGZm8tMi4WjDltdl/YYHI5XXIZywoNOdyawuT1ulXh9PrWESKPyl1eWe12hfgm8sjpdBv/tSmssgCoZLGoKC9H816/V60b1/UXAgCCiRkrFBUV+YeOD6EEAAQ5QgmcKK/HI4fL/dvwwsqNFvgfIJQAgKB3IqEEX1UAAHCas1itCgsNUfgvLzuBBAAA+J8glACAIEfbCADBjoa7AHD64vYNAAhyO/Zl6s6Xxmt7er6ioqN8TaEBICh4PCosyNeQ3u31wsjLFRUR5h8BAAgmJ3L7BqEEAJwiSssrVF7hpOUEgCDhldViUVREuEJD7P4yAEAwIpQAAAAAAAABcSKhBH1KAAAAAACAgCCUAAAAAAAAAUEoAQAAAAAAAoJQAgAAAAAABAShBAAAAAAACAhCCQAAAAAAEBCEEgAAAAAAICAIJQAAAAAAQEAQSgAAAAAAgIAglAAAAAAAAAFh8Rr87wEAwGnOXZ6rjMxCKSJG8VVCVFaQq0KHTXE16yjWUqzMzCwVe+yKrhKjmCpRigiz++cEAACnKzNWKCoq8g8dH0IJAAhyDodDZWVlslgs/hLg2Mx/8sPCwhQeHu4v+bVSZezNkiLjVbt6VX+ZVJiRqjxLFdWMDzPeZ8kZk6TE2BD9f2dccXGxPB6Pfwj4Y1FRUbLZbP4hAEAwIZQAAAB/iYrCA8rIqVBEXHVVrxKi8sIcZec7FJWQqISQch3IzJbrPwwlAADA6YFQAgAA/OXMSwRa4AAAgP/PiYQSdHQJAACOiUACAAD8txFKAAAAAACAgCCUAAAAAAAAAUEoAQAAAAAAAoJQAgAAAAAABAShBAAAAAAACAhCCQAAAAAAEBCEEgAAAAAAICAIJQAAAAAAQEAQSgAAAAAAgIAglAAAAAAAAAFh8Rr87wEAQWpTSoYmfbdWm/ZkyO32+EsB4ORlXoJGRYSqZ+tGGta3s2rERfvHAACCjfk3vaioyD90fAglACDIjf96lcodTt0y6Ex/CQAEj9Jyh54YO0c3Duyplg1q+UsBAMHkREIJbt8AgCB3sKBY1WKi/EMAEFwiw0PlNi5mSyoc/hIAwOmEUAIAAAAAAAQEoQQAAAAAAAgIQgkAAE6Ex6G0NbP0r3tv0LDLLtdllw3TzY/9S7NXp6rEJVWkLdXoNz/T9mL/9H8FZ6pGP/yAHpvwkyr8Rf8vd4lmPjFAwx/8UlmHepNyZOvTu/rr9hcWqsRf5C7erleHn69/jF2jfetnafSni5XvNkY4S5SZkab8MnPAo91zXtYlt32oPf9hz1QVBSlaMO453Xfz1Ro69HJdcc3NevrDadqSWaT/dudWKVOf1NBrJyjLPwwAAE4etqcM/vcAgCC0fFOKYqMj1IoO4gJi/9IPdc8Ly/S3F97XQzderssvv0yD+p6pZrWjZbdZ5S0+qJSiWLVum6Qoi1G3z9ykWZMnaNqCtSo05j/w01LtKIlVg1qR2rFkrpZsKlTRwWTNmDxdSzdnKyaxkRKi7ZUrO8RToOSFy1VQs4POaRej1XMnaFVeiErXz9UXU7/RujSHajZsqJhQ//Qma6hqGdu05MvpKmrUR53qRChnxed69tO9Ko1JVVTS2WpVI0y7572s0euTdPfDVyuhIFXpVeqqZZU8zXj2GT03bpyWrNmm8PrtFV+wUd9u8qhF3TItmzZJ85Zvl7tKPdVPiJSxm4d5y7X84wc18s2fdf59T+rGKy71HaOhlwxSn+Yxyi3xKqZKlGzmTBU5WrtgiiZOma0V2w7KHl9XdWIP70RZ+lpNmzxZs+Yv055Cu+o2qKMIm39k0X4tmTNJE6Yv1t5Cl8qN4/zTtjzValRHjq3fad6W6vrbJe3k632lcJfmThyvibMXadtBq+o3rKvIXx1i/G/NX7VF7RonKrF6jL8EABBsHI4/1zcQLSUAADgBdXrfovEf3KWyGS/pxmGDNHDgQF1+2yOavSnfVzl3pK3S+ImLlWP1atO4f+iaV5ep0+X36uEH79CALtW15ZsvtHjzAXnlVurKrzV9WaYad7tYd9z/kK5rd1CvjbxXP+ZXruvYyrT+m0lauMurtgOu0/2jHlR/61zdcdPHv2kZENOsty7oLi2YOU/ZFZmaPHquBr/zgZ5oU03JM7/RwfJdmjL2J7Udcbs6VZHS183VJwvXyxvXRJc9MFwdmifpwpse0QWtEmT1VqjM6VC1pr01/I5RGnV9C3137436aL3Tv7ZK5ftXa9r3qTr/ljvUrbpFXkexMvemKc185RnbZAuTzeLRviXv686bX1ZB2yt0/0OP6r7rz1XJ3Kd10yOfKtNbqrn/uEx3TKvQoOvv1kMP3a8rznDq9csH673kPGUtH6Ob73lTjk7X6eGH79fwC9urcN1szftho4q9xsWOLyWxKtQ4yuvf/4dufXOluo24V0889pBu6RuqN+64W+//sO+/3mIDAAD8FqEEAAAnwF3ukK1qI118+8MaO2mm5syZoy8fP1ffPnyLPlh2QAqzy2KxyOopV3p6tmrVbaKa/oelWMJiVM1sJeB/OrfHa1N0ZBVFHfrWPixUUTaPPB7/8O/w2kIUGhNnVLorRYRHy+616DezWeN13iWXqca+xXrh8Qc0s/GNGtYhQZ0GXSDPgR/15KiH9H3M33Tr+Un+GQ5zVzh9T0hwOyu/BfF6jUp+WFVFR1c2VXDbIhRmMzb8V08aD6/eRF0ahOnHud9rv8vY59Bo1aqXpCTzZVurf9z0mlbllagg+6BKYhuqSWJI5YzWGDVslKSwrAwVFOZrb2axmjdvqnB/Mwx7bEu1TvJoe3qmCg5kKKRqohrWOjRvpKpXM47HkdtitRnHJ00/bElR5v7NmvjBO3rrnbf01uerVO+MVqoR7jH2zz8tAAD4nyGUAADgT/PKUXpAy6a9rwdvH6Grrh6hEcOv1k2vLNM5z7yr68+oKUu5Uy63S+WuCPUf9aauTPhJ91w/QjfdNkpvffCFkvfmymOz+lpVeD1mAHFEzdioVHuMsmPVlc1yj7/S7fW4jfe+t5W8v1rOESKbnadhXcK1emaJrr+6r6qahTXO1A09QrRz6V6df+fVaugPRbzGctzGcozFy1qjibrUDNMXz43U41+uVLnH3IajVmpMZ2zrr1cbXkuXP/Op3r2jsRa8+aTuuuEaDTeO03U3365HJ+Vq5Ku3qXNcFbW5ZJSevqamJjwyUrfeeKNuvevv+jyjuR5+8x9qHpOo28aMV+e0sbr3njt1y8236Z4H35Ptmvf0ysUt1XTQg3pgcII+uPdaXXvDSD3/xgeavy5FTnvlcfUdD1eFilVXI198R/ecGac9mzdo7dr12rIjTY74rjqnbV3Z/YEHAAD437F4Df73AIAg9Nqk71S/VrwuPbuDvwQnK8fur/XS1BS16dRZdap4lbFmrqb/HKFbR92lHnX9zSdw/HI2adyX8+Ss1V0dk8JUtCdZ0xbsUM8bRml4j9r+iXAyu++dqRrev4u6NK/nLwEABBMzVigqKvIPHR9CCQAIcoQSAIIdoQQABLcTCSW4fQMAAAAAAAQEoQQAAAAAAAgIbt8AgCCXnV+sx8fM1hltGmpon44KCz306AYAOLnlFJbo7a8WKyYqQvdc1kch9sqnuQAAgsuJ3L5BKAEAAAAAAP60EwkluH0DAAAAAAAEBKEEAAAAAAAICEIJAAAAAAAQEIQSAAAAAAAgIAglAAAAAABAQBBKAAAAAACAgOCRoAAQ5HILS/Toh7PVpXldXdqno8JD7f4xAHByyyko0TtTl6hGXBXddenZstv4vgwAgtGJPBKUUAIAgtxrk75TvVrxGnp2B38JAASX+96ZquH9u6hL83r+EgBAMDmRUII4GgBOARb/TwAAACCYEEoAAAAAAICAIJQAAAAAAAABQSgBAMAfcmnrpH/o3Evu14zVaSrMz9HmHz7RfTdcpefnp0klKZr4+lMat3CnnP45/gpbPx+uix6drOO5O9Oxe5puvGiI3luWVVngzdWs525UpwaD9eU2/5I8GRr/wBW64sU5Kijepy9feFT/XmDsh8o09frL9NSM9Mrp0hbq7kv/ocmb8iuH/8i+mRoy8C5N25KvkoIiFeVXvoqLK/wT/MVS5+nWi0dp1u4Sf8FfZ//Scbrvqke1IttfAAAA/qtsTxn87wEAQWj5phTFRkeoVYNa/hL8tRzKWDVfszfkKiY+VtVq11W79mfogosvVe8mVaWSPZrywWJ5W/VSr2ZxSl/6kR7751it3nNA+3du0+IvX9Tjz49X7YuukGXewxp6/791oNSlzN3rNOfjdzR6YZqadWqvGpE2//oq5fw8Xd/mtNJVfVto44eP6Za7R2uPRcreuVpTx76rD7/LUvMuxnwRh79fsMU1UWLuQr3zTYkuvKiz3Oun65NNXg3qH6LJi8p1Yf82Klo+UW/NL9B199ymNnH5mvLFxypqfo4iUxdo6rxlSi1yym5JUKOkCi1ZMEcbMgtUlr9fa76dpLdHz1JetVZqUz/m6G81Crdr8rwMnTXiIjWLDVNYeOUrNNQuT/F+zfvsFX2+cJt2b1mjuV+M1RerS9W+e2tVtXmVuugD/fOdqdqakqpNyfP1+Yz1imncSonhWZr22rMa8/0mpW3fpIWzJmreerdad2+q6MI9mv/t19qala/C/TuV/N1MjRk/SzmxLdWmXoy8Rbv05VvP65MFP2vvri36Ye7nmr54n+p36qRqYVLpnu/14jOva9GWvdq9caVmTfxc3+bHq3frJJWm/aQVq/PVZkBfJdlT9PFj9+qthflq3KalakTzZJv/lvmrtqhd40QlVo/xlwAAgo3D4fC/Oz6EEgAQ5Agl/tvsqtnxQl0/fLC6Na+t8IpcrZjxru4d9axWh52h/s28WrFwo6LanamOcSv1zN8nqf9LH+um/h3Vtl0bdWwWovXfbleLIZcqPnWxvgnpoadGXqMu7drrzI4JSv7iR7mbd1T7OtH+9VXK2ThNCw621OV9Wyp73SLtqdJLd91zpbq266AzW1fR6h9nylu3j9rWjvDPYbKpTuMErf7sQ6VUb6/cJV8rt85luu+W81Uw/hVtim+rtHkfKavZlbpxYAuFmfuyeJHc7a7U8HOaqmDBt/L0v1t3XtxY9vydmju3QP1H3qHLzuqkDt07KXLHbCVnxKhrj+aKOLJ31cLt+nL2RtVq1kwxFXnKyclVrvHKd0cqPraqoq1Obd+4TjtLItWpVyvlT54pxxmXqtHOF3XLpw79/cUn9LeeHdWxay+d17ebkmK9mvXqtZoad6tevKG/WrRsoS49e8m2frReW56oAZ3LNX9miS76x1269Kwu6tTjLA1oWao3Hp+uqt3b6ufP7tLCmHv15gOD1alTR/U461wl7Julp7/M1oU9HHrwjk/U/oF/6a5BPdWxczedfV5HZTw/StMieqpbVLpWLlqpn1dO0wufpen6l9/QrQM7Ekj8lxFKAEDw+7OhBLdvAADwR9wFWvDOs3pz0iJlOCJUvW4T9T5/iPo19ihjV6bKjUkq6+dehcR3VKeGLk2ZtliFvrIKbVmerP1e7+EnpHg8crkPvzefy235Dx6f4vW45fYcem/M57Uce75qZ+j+Gxpp4kM36ou0SA2+uL0xXW1dduuZ+vSeS/XW3jq6ZGhfVTEm9Rz1UHCvsTkulTorV+I2ttgij9zuQxvrNdZp/Pi9jbVGq2bjxmrYtImaNKt8NaoRpozlY/TMS3N1xj0v6fXH7tbF7avLbSzHY/wnsvVgdXVu0cQ5a40jZSrUuqUrtSvbrYaNGsuxfp1y7LGKj4tXbEyc2l14v964r5PCSo1ttKYqee3OX+ZbMPNrFbVrrta1q6lj+34qWvyZ5qeW+saWpa7S7MWb1PGsMxRdtbGGdinTnAmztNf88Az7F0/RDG8Lndcl0dhNp4qtSRr87Gea9UiiXrj8Ko1Jzq2cEAAA/OUsXvOBogCAoPXapO9Uv1a8Lj27g78E/w2OvDTt2ndAhaUu2SPjVK9pMyWYjRRcpUrfmy1bfC3VjA3zTVuWvUfbUw/KGxmv6iU/6rHn1+r2j19TB/c+7SkNV6PEBIWYXws4i7R3T64iayeqenSIb95Dyg7u1N6yeDWrG6/SrH3KLg9XYlKCQo35vBUF2pd5UFHV66ta1DG+wXcXa+/mNHkS6hrnRlRlIOItV8bW3SqrUkf1k2Lku1nEXa70fXvliW+opKoh8pRmaduOvXKE11CTpDjlpOcpqk6iqkWa63CrID1VBZY4JdaO01FrdeRpe0qhajSqp9iQ34YW7uID2rYrXU5ruKLjo2UrqlCV+o1Vzd/coiInVdv2ZKpMkUps1ER14/ytP1yFStm2U1nFDlnDY5TUoLFqx4QaM+QrJbVEMTXsytmXprxymxIaNFXDhKjK+UyeMu3ftUP7cysUYXw2jRrXVdQRX8V4S7O1c2eqciusiq3dSM2SYn3HyVGUrYwD5apWv658H4krXzu3pSsyqakSY47+jPDXue+dqRrev4u6NK/nLwEABBMzVigqOp6esA4jlACAIEcocXKpyNqgyR9N0JLtGXKGJahznyG66pIzFU/rf+B3EUoAQHAjlACA0xihBIBgRygBAMHtREIJ+pQAAAAAAAABQSgBAEEuvmqU8ooqO/QDgGBT7nDKapEiQ+mzAwBOR9y+AQCngHXb0zRl8TptT8uW2+N/RAMAnMyMS9CIsBB1alZPV5zbmceBAkAQO5HbNwglAAAAAADAn3YioQS3bwAAAAAAgIAglAAAAAAAAAFBKAEAAAAAAAKCUAIAAAAAAAQEoQQAAAAAAAgInr4BAKeAwuJyTVnyk5ZvSpHLzSNBAZz8zEvQqlHhurB7a/Xr0lx2G9+VAUCwOpGnbxBKAECQm/HDBu3Yn607B/dWRHiovxQAgsO+rDy9/dVi3Ta4lxolVveXAgCCyYmEEkTSABDkdqUfVMPa1QgkAASlujXi5PR4lFtU6i8BAJxOCCUAAAAAAEBAEEoAAAAAAICAIJQAAOCvUrxL0999WrffdK1G3Hyn/vnvWdqV6/KNcuTs0Ypla5RZVDn813Bq+ceP6fG5O/3D/4k8Lf73M3rwg+9V/Mum5Grhe0/plUnrVHGopylnmia9OkrPT9mgwgM79MPidcpz+8cdIXP5p3r4g6lKL/EX/AcObFigN566TzfdMEI33vWYxs7frHL/OBXt0Y+LkrW/7Ncr8xrrmqCHX5qu9OPtDctbrrWT3tK/xqw+vB4AAHBSIJQAAOAv4NowXgOGPCnboCc1eswnGv/hu3r01nMVWVEis0tpS1ikqtWpoagwW+UM7hKlbl6jFSuTtXlvvvIyt2hHutlBlFcFe3cpNSNHOWk7tHb1SiVv2Km88mM9VcWjvH1btPVAqa/inb4nVfuzcpSesllrVi3Xum1pKnH6J/1FnLr2qqe9U8dq9s5iX0nu2jma/v0MffnSR1qcYc7gVcbSqfrqh3J169JEEeFRSqhbR5GOfG1Lnqg7z+ujR8cv1RZje8vz07Q1LUP5WanatG6VVqzeqLS8Ct9yfy130Ws67/zLNcfZVfc+9brGjBuvsW8/p6u727V0zmoVGLvotUWpeq3aivbma8vM93XzdYP19Li52pVdZqwrXdt2ZCjn4D5tWrtCK9b+rPQCf7LiKtLu7bt1oPjQDntUuD9FKWl5chsfQGH6Hu3ek60D+7cqefkKrduSqhIeVAMAQMARSgAA8Bewtxumfz9ziTa8OkKXDrtCN93+gJ55Z7YyjUq2xSLlb5qrp98Zo59zpZJ1H2vooFFaG9lKPbp3VfPIdH30zD16ZtJGY0lOrR37ih587CPtC2+oTl26q27WNF078gklZ/4mYahktRt18AOa8t7Tuv+dBfLUaKXO3XrKtew1jbz3Le38Vf+Bka0v1w1dXJowfpFKnRmaO3OTEod9rPf/7tGYiUvkrNirGbOWq8GAoepdP1JZKyfowee+UlpErJp37aT6MVFq3qWXWiZWMZZmk3Zt0s6iKmrdsZt61D6gl+68Sx8vz6xc2SFFq/X86Hnqff8buqFzrJl7/PIKi2mmfgO6KMa4KnGnzNcT94/Tdks1tTy7i5JqxqpF975qnBApm8Wp7Owd2pcbrdadeqhHnXS9PHSIPt1mLKR8s1576g3N2lbgW515HDd8/obe+HiZSt0hCrGVKC1zpwpDm6hrzx5qYvlZD464XO+tMj4QAAAQMIQSAAD8JUKU2OMSPfrGeE2Z9IXGjH5Vj18ap/evvkCvrixWqM3in07anjxDlp6XamCDCN+wrXordW9z+OkpHo9btVt3VrNqdt9wlepxqh7pkMN1jPsnfuGV211Vzdu2Vs2oyuHYakmKcbvk/M0dI5Hqf/sI1dj4rl57e4J2ZoZpwPnt1enyW9Tzxzf18jsTlJxeW+cP6KkwY2qPGR4cUlHme1KCo9x/I4THJW+D1mrTIL5yONzY1pBoOSp+FaBE11SbmCj9vGGbKsc4VFRwUDl5ecrcNVejLhimSTsle0jlpYnXbDVRYqzL2GdHWeW9IR6PTfEJzdSiWVzlcExN1bCHGusyh7zG/yyyWg8dZ6tsVqtRYvLK5Y5UUp02apbgP6YtztGAVvHaOH+jjt2uAwAA/C8QSgAA8Bco2bVYbz9+u24aOUrPvPy63nr1n7rviYmKH/yobuhuVNKNmnOpUZF3ur3qeP07GmabrpH3P6fRYz/V55+M0Vc/lPmXJLnKy1RWYVT2/cNet0OlZeVyHeN2A1d5qUodZljhUUVZmcqdh4MLj7NCZWUVR4cKfpY6AzRyUKQ++GSuNPAGtTMbPdjbacj1TTRu9DzF9rtWZyVVVuA9rgqVlDrkMddvr6GkutFa+NHbmvHdeuUYG1Vebow7vLEqLy2T49cba6mr6z74Ss+1267HR96s+599RWPGfa6P/v2uXn/3a8VdfYvObmCsq8I4TiXmvhoLrJqgJLtTCz9/Vx8v2a4yh3kcnMaeHuJWRUmpHGbqEt1EF3WxaOmHr+ndsZ/pq8kfafKPa5RpTGw1/mfx5mjDmq80ZuIX+nTMB3r+wfs0395PD/39bF/wAgAAAsPiNfjfAwCC0GuTvlP9WvG69OwO/hKc7By5GzRlzDp1vONatYiWDq6foqef+lhtHp+kWztF+qcCTh/3vTNVw/t3UZfm9fwlAIBgYsYKRUVm31iHWa3HbgPh8X3LcRihBAAEOUIJAMGOUAIAgtuvQwmLxaIXX3xRq1atUkRE5e2qpaWlOvfcc3X33XfL7T7cspPbNwAAAAAAwF/GDCkeeeQRffXVV2rfvr169eqlmTNn6q677joqkDARSgBAkDPbux3uQhEAAAAIPDN8MFtMjBo1SnfccYdcLtdvbt0wEUoAQJAb0KOVvlu3Q0s37PKXAEBw8Hi9+njuClWNCFPTOgn+UgDAqcQMIo4VRhxCnxIAcIrIzi9WTmGJ8UefP+sAgkOI3apa8TGqEskzUAAgmP26T4n/nPR/Fh5uRPxy2HYAAAAASUVORK5CYII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Cloud Kindergarte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\\HE100167E005.emea1.cds.t-internal.com\A48937014$\Home\Data\Telekom Ausbildung\Veranstaltungen\Cloud Kindergarten Barcelon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1925" y="160338"/>
            <a:ext cx="9753600" cy="7315200"/>
          </a:xfrm>
          <a:prstGeom prst="rect">
            <a:avLst/>
          </a:prstGeom>
          <a:noFill/>
        </p:spPr>
      </p:pic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4098" name="AutoShape 2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0" name="AutoShape 4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2" name="AutoShape 6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4" name="AutoShape 8" descr="data:image/png;base64,%20iVBORw0KGgoAAAANSUhEUgAAA6gAAAIUCAYAAAFgOTEEAAAAAXNSR0IArs4c6QAAAARnQU1BAACxjwv8YQUAAAAJcEhZcwAADsMAAA7DAcdvqGQAAP+lSURBVHhe7N0HYBRFGwbg9/ql90DovSOggFRBQUSxoCLYe++9/SoqVlQEBBSQLtJ7770kdEgIEALpvSeX67f/zNxeSCBAwAS45Hv02JnZvb2928x+O1tmFRIDZt++fXxw1fhsunbtit27d8slV6dHjx6IiIiAQqGQS65Oly5d5JR7WrFihRjed999YnglSlaqg72UdgeiDm6FZ2ADOJRKOGx2KNlQqWBphw0WYzF0Xv7YuGkRbu/r/DD+9r1796J79+4ICwuDt94TUCthKiqEysMbfNUYi4vgiF2D6ZuK8OqbT2LqpHfw7EvjYLdbILH5usTHx6Nhw4ZIS0uDWqWEjS2Pw2aDTqcBVFpYLWbYbQ7oPTwgKR2wma3yO89Rq9Vi2LhxY8TExIi0RqNBo0aNRNpdLF26VAwHDx4shud75ZVXMHHiRDlXllip/MvXrVsXSoMViXkZ8qhzzFYrdOyHuZzatWvDw6yAIsADxcXFSIg7iwaNGstjK46v1GmbIvFcv3ZySWn8z0T8HV6WwWAoWcnt2pU3r+pJUVBQcNlf6MCBA3KKXG+33HKLnLpQScjiK7WwsFC8XGk+5K9XX31VDF2+XrFOspuLJJNdkjIL80XZ9FlfSiarXUo3mCWbQ5LSC20SGwgnj0dKQz78SzqTnCudTSuQzAVZ0gtTN0nHo6Ila3GeZDMWSKk5Zul0YqZksEpSYV6W/E6HZDMb5bQk5RcWS4vmrZQclmK5xIUtCJOemSOZDIUiXV1FR0dLR44cEevDbreXrKd58+aVpM+ePStel6ypPJ46HA74+PjIJTcOa3E+NJ5+cq7mYCtQ1Ei2nkVepVKxfRO7SGdnZ4uhIrLO5xULUMQt+Ox+5dzeL6keYmNjr3ylZg2ZKYZSsRUhq18QaXLj2L59O5RyusKCFz4Ny6JjCOx05U0Vcm1c8UpNUXwghtk/rBLDDK8vnMPuf4ghYe36PAkmAz+cI0HKOgYHspD/v9/FuOSmHyJ/fy6KTpqRd4QNPxsLw5QIxCveQfGk9UgMGoH84T/BmnlaTH81riqmJijeRwNplJwjN5Kr2vxytEJvbFe1UsmNTTFo0CBq0lQjH3/8MdXU6ohWajVEK7UaopVaDSlMJhPtKFUj4eHhdEC/urnqgw/kxkYrtRqilVoNUUxlEhUfQoIDSo0WktWO+tIv8piKyc/Pl1OVx8/v6i7VqdEx1XosDdmP/sNW6EdsJf4qTlLUs/wkVmii7jN5qorh1wjx19zpf8PucGBPioFtA1VQsV/XlB1XMl6lVoNXoVGTZkNSAGqNpmSc6yUuaXU4rzm6WjWypjpX5KVrY0WmccnJyRFD1xXJnh4e4JeZ281WVuZgK1qCp6eHWJHm4mK24tjKZGkdG/Lro8sTGBgop64Mr6lutVLvv/9+LF++HE899RRmzZqF8ePH44033sCHH34o7hIIDQ1F8+bNYbFYcOjQIWzdulW8b/jw4SK9bs1a5OTlok6dOsjLy4O/vz/effddZGVliZfRaMS2bdvEexI1nwA2R4VW7J49e+RU5eF3PFwNvlL5pYZu46GHHhLDJ598UpoxY4ZIz507V7rzzjulJUuWiDy/5PWdd96R2EoW+dtuu00MHQ6H1K9fPykpKUnk+/TpI8XHx0uslon8gAEDpJ9//lmkS0vAh3LKPbA/SsntVuqRw0fESnXp3bt3yYr56quvpLvvvlus1NKsFqu4AJpLTk4Ww6KiIvHewYMHS48++qhYqeVxx5Vao2KqJSIB2q4N5FzFJAV8iXq5I+Tcjc/tYmpl4M0Xvkvj8UBbBC991ll4ntz3lqNo9A4oNEq2R/yzXOoeauRKLY3v4YpdVo79Ch5DboJx8THUt408V+5mavxKrY74SqXDhNWQ29ZUR0oExm83Q5F4CoGafBRadHju4zeQYLBhy9r98D69GY998rmYdv+Cv1Dk2RQa40nU6f8m1F5A/fPuoR49Zirefed5ZBxdCm1gAOb9ewB33eyNRv2fZ2OdNy67A9r8VkO0+a2maKVWQ7RSqyG3XqlHxcmRbEQs+FfkuXmfv4+kokIYMs4gznm3PGDNw5//7saXf/6CxKxMTF1/FhsmfCWPrH5oR6maoR2li+A9rrkzWqnl4D3SuDNaqdWQW8dU3t1dVeDd8bkrHlPd6iR5VRi39IQkFeVJq1Lt0s2z94uyW1bGiqE7qnEnyWuCGr/3e+DgMTH8Y8U+fLv2JEbPPSTybk/UWTf22w/DpU1nnZ1ivjp2gxjWZLT5rYbo4MNF8GuI3Rmt1GqIVmo1RCu1HH8W1ZVT7qlGrVSbfEyX7xnazts/NDvO5Wf0ry+n3FONWqlqpfPr8kt61ec990andNMLfctRLZs04iLtCrjSm4vdQbVv0qh0BQja8hl0PesjZO4tCIkaAcewO+Wx1VP79u2pplY3BQUFdDlLdcNXKjVpqiFaqdUQrdRqiFZqNUQrtRqilVoNiSaNzWYT/Q79F/xx0f/10dUcf3z1f32UNn/GKH+ipLtasmSJ6PmM94B2sScdX4pYqfxJx01D6+N0eoJ4jKNeq4HdoYDVZkFhfip8/MKgY2W5OUXwCfCB3WqFVq3EmdgE1GtYF6tWrULv3r3RokULeJmVMOgBHy8P5OfmQ6lR44t+T+KHzf9g4YkiPNTSF0q1DlqtCiajCZCcj6/euHEj+vfvLx45/f2i/Qjw90W/Ls3RvVEQVEoF7OwPLyM3F6GBQWy5HKInsfIa2FqtVnSOxZ9y7OXlJcp4h1nuhK/Uvn37io66LrZSeXvU19dXzgHPPPscZkyfJtIlK7WuJgBJlhyxUrMLihHk6ykmqCjee5her4cu0wxziE4uPafAAvhqnWmrKR8affkdKvJu3QoLCtkKK/+YiEVSQqu4/BX0fEVGRkaKdJs2bdy65l6pyz6+mq9w/ldBbgwXe3y169HVrI46V2rpJ+cmJSWhXr16YjPGy/hf+LGss7ilTkuWBw5tGg2vDg+hZci5TqZsNjPO5qTBJ6QhlHlGhAboYSssBqtUUHnosC7GiI66VIQ1aiG/A9gw+SXc+dIk2NmGVMXyp+OzoDZlIy5mD/oOfAxgm2irMR+WgnQYlf5wSAqEhgZj5aFMdK8HeHj6wGSXoGfzh5nVbLUnvPTypqAa4mdfbrvtNvGkY74P5HqAfnx8PBo2bCiecszXV0hIyIUr1UWj0cDKYqdOx+PfZX4sSyELZhd5xLXDzPaxy26OzXZAx9fkRdiMBVB7nIsX5bGzLTDvelWk2esSs6tW+Eo1m81ivXCuR4zzlcrXY1BQED2+ujrxPfIWJIOFztJUJ7yHcJPJdGUHH/hfQdagqcgePF0uITcSXj9Pnjx5ZTXVfjYXqsYBco7caHjH1EePHr3Cmiq3He2R6WKYeb+zsZuieF8MCZAzYjviFW+iYHc2DDP2s9dBGKbvQ/oX0WK8ec0ypI45BUd6nMjnvP4jUpp+iJx+v6DgxwkwpTmnM0zbB6NIXbkrjqkZtUbA84Pe8P64r1xCbhSumko7StXIVW1+iXugx1dXI4sXLxZ37FFNrYZopVZDtFKrIVqp1RA9vroa4cd9jxw5Qu3U6oTaqdUYrdRqiFZqNVTjY6px/Slk3TUZSn8POPKKoQzwRN2cb+Wxl8evF+KXo1amlJQUtG7dWs5VXI2PqZl3TET2Y7Oh6xgmbj6um/stG/4qVqjzIX8Vw1cqv+h68bbtUChV4P2BqFVKKNPDxROO9QozHGz8rj0b2HQOcXGcuGhMskPrWfbR1fzFx/HrkP6LGllTSx5Nzb+6fGllaZb9idB2rlgPLbwZwa9V1nt4iQvAJLsNGq0axUYLG+uAp04Lo8kMqDRs5dqggAQvTz3MPG3MgVV54QV2p0+fRteuXeVcxbn1qbeXXnoJkydPRr877sC48eNLNlX8lg1+6we/uv2tt97C6NGj8cMPP2DUqFHi2uVnn31WPPqa69evHzZt2lTynj59+uCXX34p+TF5bQ2L/x/UDS5/pUdlP766Xbt28PG5yNWZl+Baqfy6FrfxwAMPiBf3+uuvS2wzJfXq1UtiNUW67777RPn3330vHTp0SBo4cKAYx/GnGRuLjdLMmTNFntu6dat4MrLLyJEjS56G7JLo9bmccg+5ubnu9/jq0ljtEsMdO3aI544fO3ZM5PkRMn4tM1+hPXv2FM8r5yuVc63U1157zbkCHQ6Rt1qtYng+h7XsSr7RuVZqjYqpln0sVnapeG9mJbHXTdTMvV9vrVhRl+uSxzVNfYd7dslTY9upyWHfwJFW5Lx3gzU1NJ3qwhaZBk2Xeqi16015Kvfi1nu/pHw1/uBDdeZWNdWceQw63/ooyjyBKXOiodMU4qHuYfD098Oc+Dpo3aQxejXzwt//rMMztwdDExTC2mwOTBy3Gobgtqyxn4t6XW/DI50DkXV4CYJvup2N5wcGasmfwFmwYksMBnWQoLQ5gNCb5PIbX43b/K6IMuK+th5yrnqqcZvf6r5CS6OYWg3RSq2G3HalvvTMy4he9gnyWXrlGTNWb92PzNM7sWDBLPwzbxn+mTOLjbFif64DayaPQy7Ljd0UjzPhi5B09gj2sDZpdUXt1GqE2qnVGK3UaohWajXktjGVX8dT2Rd8ubjr46tdMdVtT5L/V0tXHRXDuxcek/JOxUh5LL0nV5KenX5QlLujGnmSvLpz+73f77/8Sk5dnSmrjmNsZIZIT4zKxNxDpzHpRI7Iuzu3rakHY/MQtW8N+jXVo6Ddg1j8zU9IzQL++PtTeYqap8adpakJ6OBDNUYrtRqilVoN0Uo9z+/LD8op91VjdpTMdgd0rq68ZfyL8xuW+L9WfpnoeePdTY3bUTp/hXLO+92c/7r7Ci2t2tXUg4qXEAJ/OXdp1e2huDWipjp6dUTYrvvgOeNlqPt2gk8DPUJPfSGPrX74gxGq5eOra3JN5X3o8xVLR5SqEddKrTE7SjUJrdRqiFZqNUQrtRqilVoN0Uqthso0afhDZPkTGBUa+RmH/P7M64A/0Jb3W9ukSRN+/M5ZaOXPXrz2+KMseb9G/DmynJI1GRzXqRXIO+LiBxfI9eF6rPh9992HFStWiB7qrubx4lejZOvLnzPPH8nZrEULNKvTEP7v7RDPg7PkJUGRE4ltS5ZDaYqDUq1C+KY/kGL0YNProVQqoIYB0xcvR2LcKeh1GqTH7OWHrJAXuw06rQ6bjiVhx5aFOL56HtbsTMax5YtRzLYBsfEp4jO42bNnlzynnj//VVRSprDdKHg7NM4OwBRKMT+dqhBrY6zYsXo+tD5qcURezZZj6pD5iDKosX7015DiluP0qo8x5vfpiDkbjdmTX8Tu6YMwZa8B/64/gz+/H40RX4yTj+aXxZ8L/P3334s0f97srl27RPrdPxYi6mwSPv9np8jHFKsQ8dtmaFX5WLlkDzKObIdCq8Tu+UvYD6uA1sOKrRFnsHPN37Bq+HIqEbtsF44er/j1bfzxqBkZGWLInw7O1xP/zfiG4/wXqVr8d+ev5cuXl6Sv1Ouvv4433nhDzl3cY48/LqecFFFRUVJiYqLYOtwI+LOV77jjDjl349iyZUvJA6OvN/4M6rp168o5UhOIB5LLaXEkuCJbCf4Hy6dzVe4KPbSckBqC1wuVytlkK91xM+8YuryN/fn1jj9cvrTg4GCoPvvss695hk/MoxnfxTpfeno6vL29RZqP5wvBZ+bp6Sk+gH84L/P6uh/89N7oWq8NErNNMFoN+HjletRKXY1leyPQpX03PLH2EB5uFibmxU2d+SUipHroXDsISFyPFVsXoGV9X9g1fqw9yHuvzsWu4QuxLNeAwxtXYeXsP7HrbAPc1iUMMbMm4tU5hzC0bzAStvyNfbp2yFj0NAwtHsHIybvQrV4xvt5rQf+mPnDELMJn09ehdZ12yNv3Pd6bmoMHbm+EzUvmYd3GXLZ7+hX8kyKgrNsGyD+KVac90SrME1Eb5uPIsRisPVCArjfVRWy6EVPmrMDxPauRpmnMdm+18C8+g2R7AHy1Ciyevxqt29bDv0sjYE/YhtpNO8jflHdUAERuXIANa/aiQ9eWKD61HRqlDfNnboDedAp5/q3hJ6XDpPaGxvkW4oYmTpyILl26iLTFwjvyhmi28GNAvr6+JZWV15nVq1eLjr95HQsJCRHlRqPzUci8rvH6xetZmYh6tdLS0pCVlSXnCCEcD35t27aVc/8NXchCyA3KdWESRxWVkBsUr6j8xVXpyXF7RpGcAlLk/uozFO+LISHk0ngMjYuLE6+qvYqFfVBO/8lyhlXcuByoOzvPj3J5n6xGzu2T5ByQ3XMCct9aKucIcUq9aQxyt+Qgrdd4ZMxPQf5OfjxEQkbPcbAVRSGj1wT2x5WGjB7jkD/8d+ebZKmjjiGuzkjEK35E3ncjRVlSqzEoNjtQ8MNPIp/75vfsvX8guem7SK33KXIG/IS0Dj8if8RYJCpeZ3+okSz9I1Jbfwl7UqT4nMx+o5HGPv9aqdKKqqrlg8CNL8k5lm8UiMB95x4K4v/zPQjc8rKcA4J2vY6AP67NlR7EfSiUDjhS8xC48w1IsyNgfHMWcsNz4SjiR1R94CgwQXJo4TBYoK7HzyjksZezw9+gAQVolPI+Gkqfwe+Lj5HRehR0tfnjFJXw/fxTZP54EKpmjdh7rdB2bYng3c9B3a4hYFZB3bAetHd1gfFQKlQNG0GhDgB03uJzQja9i4Br+IAbaqMScoNy3WTMVe2uLyGkUihefvlliqiE3IDGjBmDiIgIkVYMGjSIKiohN6DFixdj7969Ik27voS4AaqohLgBqqiEuAGqqIS4ATqPSsgNis6jEuJmqKIS4gaoohLiBqiikhL22GxkDZmJ5ICvkNpqJIomOk+2k+uPDibVcKmtf4HtRAb0g1ojZOXzcuk5tqR8pNYfIdL1LD9Boan8nhh5f8XFxcVy7sZ1+vRpdO3aVc5VvdIHk6ii1iCJig/Yv2wnivfuIa/1kE2vQH9HM2fmMhIVH0HVMAB14j6XSyrH+RV18ZbNGNjIE6OW7sUXz92P4pQoHPK+DVlRO9C1z71oULwfsckpaNz5HhgzU6H1b4DPvvgf2t56O14cMgCr1y7EmfB8BPrF4ZE3vxPdq46cMA2WnCT09glFWkIAHvrxAUCnBcxm2B0XrwI6jQ239R2CDRuWUkUl7oNX1uAFT8FjyE1yyX9HEbV8pSsq7+6BVIEhQ4ZI+fn5Is1+bOmpp54S6blz5orhhnXrpRHfjpDYH6n00ksvSX379hXl9913nzRv3jxp965dIv/6669LmRkZ0jvvvCPxHiO5Xr16iWHPnj0li8UiDRw4UOQHDx4s2e12kb7jjjukmTNnSklJSSLvMnTo0JLpjUaj9OGHH4r0t99+K6Wnp0sDBgwQ+ctJu2W0lIAPJYfFJpeQypabmytt27ZNvOhgUhXhfbXyvm64OnXqiP5vuGGPDkN4eDj6D7gTX3z5BZ595lnRp+uTTzyBPydMEHdMzJ07F9179BDTjxgxAv/OmSPSvN9lPk9PD0+R5z3U8W5aGzZoKPLcm2++iY8//hibNm2SS87hfczy5erXr594Zsqvv/6KTz/9VIz76KOPrqgT9Vr730GdjOFI0jrfT6oWVdQq0qxZM9x000344IMPEBQUVPIsHc7Ly0tOAaG1QkXlfOHFF3H4yBHROTPPs6iK/v37i4r49ttvo379+qIT50aNGqFps6biva1atUJYWBj+mvgXWFQWnzlu3DiMHOnsG4h/Lq/or776qqj8r732GhYsWAAWRUUH0Z+wCn3y5ElRcdlWG/7+/mjZsqWYnr9cz9y5GPtZ/gwdajldC9RGraZs8blIbfQDdLc2QOjet+TSyiEZrUjy5JFUWe2e3H4joYNJNYxktsGemCc6A0vvxHvpk1D71KfQNA92TlCKacMpZA5w9gypvaUeFD46mLfGspwCQbMeg7ZbA6ibXfg+UvmoohLBcjgFBd+sh+1kFrQ9GsL3475Qt3A+/4Rcf1RRCXEDpSsqHUyqQqa0w3KqrNSUDDFcOW2qGJY2ceR4TF53TM6dIxU6+6nlrEn75JTMYUZc+AI5c87vE851Zn7WLCcuY8wf0+RUWXlJ2+QUuR6ool4LpnNPulu9KQrzZ6/CuuOFyCk0YfqYP7B56igsmjAK1kRXBVSAP3gv/HSuGHIOn9pA+n4sGj+WjZZXmzXFOTSnwZCdh6Wzl2DFpJH4ZdJ6bJo1WoziXVEvPFYAFXvL2QL+4Ecg9/hqMWS13zm0pjqHjHTeVTpZJ9ayfyVxMdOx1TMw8/ffYU7dj9jNM4H8E2IcqXq060vIDYp2fQlxM1RRCXEDVFGvg19GfI+1pwqQtN95AMjVDo3KtjkT5iTnsIISiqn1Ut1RRb0OcosdkIoNKIjfgY8nrYaJlS2ePg5xBXbnBLp6+Pz7jfj97+lY9MurWL3gB5glCSO+GYPRv/yMjf+MBJsF5v76t5j8j1G/IIG99/vhUzHiq2+RycqG/z4Vby04LsbvX/AdRoyayFIGWE+twu/f0NVE7oYOJhFyg6KDSeSKuZ6BQq4PqqiEuAGqqIS4AaqoNdCSlc52z5Xo1q2bnCLXA1XUGuiBe9qj0GoXr5jUXNy36JRzhCSVXBDIDzHSUcYbBx31JZc1b18C/ko2YsvglnIJuRboqO919u+ijdh02gxj7hl8NCsCCas/wYEsKxZNHY2pe7OQFbUF93/wK/7aGi+/o2pFpPBL9y9uWJcGVEmvM4qohNygKKKSK8Z7TiTXD1VUUiG043V9UUUlxA1QG/U6MBgMbvEIh9JCQqjTs2utdBuVKmo1sepMNgY1CULPKYfQpW0tKNIz8b+uAVifaIY6zYi6wSq07NoWwWrgi9UxGFrHjPejLdj42M3i/V/P2ofZem8svb8Fflwei46WfPyl8sDpR9uJ8eTao4pKiBugiupmbAVGRL88Xc5VArbK2897Xc6QGxVVVDdzUPESQuAv55x8vnkIhcMXy7nSHOJfzaAusK46INLloUdR3PioorqZ8yuqBAsU0MLz5Q4wNWwPv4zZKBhjgOPeQfAN3ouCf/UIPvYaVDmxSB2fB/29zWB+dLz8bieqqDe+/Px88cQ+jiqqGzigfRO1rB5yrnLUo4p6w6OKSogbKF1R6YIHQtwAVVRC3ABVVELcAFVUQtwAVVRCbmCPPfYYzpw5U/aoL7/nUKm8vnW3S5cuYhgVFSWOel1PgYGBaNWqlbjFa//+/XLp9eFwOHDrrbfKOXI9rFixQk453XfffXKq6pVUVP6HEBsbC6idFVWyO9hIkbymioqK0KlTJ3GHiYN3r8Uf7MlZ5cc9XEN8o+Xl5YXDhw+LofNA+fXr9Kt58+ZyilwPvKKqVCrY7c6/xWtZUUvC57Fjzqdc116YiKAfDqFhvPPPMkPSQqfTsylVULKirZv2QK/XiXHckkWbsO5osijT6jyg0ahF+eY1s6D30GNnnAFajQY6rRYeHmy8Ss2mY+9XKGC3OR+KxL+8lo3n54y8vb1FqOcbDvXqMzD2nwbbh+vEdPO//EYsB68qOg82vUojlolTKFRwsPn+sc8AvY8nik8sx9rh38PbywOe3j7w0OvZ0Buz96dAyzZGvNyHvcpjNpuRmJgoliE+Pl5UUptNbDawYM9pqNnGQ6k0YfLmaGQdi4BazZeFfW8FK2dDh82KzKN7UFhshUbLvysrZ8u5b8wm6NhyXIl169ZhzZo1Is03GFxMTMwFL3Jt9O7dG3379pVzV47vJU6deuGT5kt7+ZVX5dQ5JRXV09NTDAsn7BZDqJw1QMkqz5k8C5asWImoLLP4gzRlRotxnEUTCLOkhCXzKJKMDixYHgWFVsUqgRfMrPJotRJUajVWbD7G/tiNmBORAEfRWVaxJPEHz/GgfvbsWZHmgoODnQmtc3ze+FViyCvBH7+MxtbDB/DTg8ORFLkM42ceYxsET1GJtg7/CKy6IjwyF5N2NYDfs++h4PQmHEgD/lx0kG0YctnGwognR/0Ji8XBZujcqJxv4cKFJfdf+vn5iaHE5qtVq3DPzQ1FnquTEAdjXiZi0gxYsXIO0lKPYH2MAeGjdkBbpylOn8nB9rPZUBcex/yl7HdhEdquK5LfXTEmk0lsMDi+weDKu5c1OTlZTpGqwv9Ot2zZIl7yjugV++STTxAWFibnLvTEk09i0sS/5Nw5YteXt79cf5ANGjSAI7sYqmAvEU1czIYC6L19+Y0XVYpvcVq2dPZ4x/8w7akFUIX5il1hF17JrQ411IoLd4eVDiscSo2cqxynT58WkT6/2Ax/T90V7fpmZ6UjKLiWnPvv+O/TsWNHnDjBH8t/Dt8badu2rZwj1Y3i+PHjUulodr3xP0IfHx85d2PgdzG4mgY3gsaNG1/1Fp24J0VBQcF/XuMHDlz8dipCaip+8M/X11fOVZzr+l4XvlG+qorKD/zwI1/8xQ8Eudq3V4IfsNHxg0qEVFO8Ldu5c2eRdh1nOP/0J6+UpfeOcnJynBVTLucvfsym5F38KOf5Ndk1cenyL7/8EjabDY8++qhccs7RtNNyipGsMNkdOJWdDkNBEss725M5JueQHyThErLj8fKU7/Dcv/NgKEoXZZLdCrspAcg9jbz8LJw9FY2CQhty8vNQlOd8kL6RzSYxic3Xmg9jUQ4ryYIhO0WMyy22Ij6NfeH8c8tjKMhHbk4hYhKykJmdj9j4NOTm5+Ds6ROwGnLFNHHsc4w5aSzlQJrBLMoWrYvAwXQb5kz8XbRNV86Zjz+nTsfKHSeQlVOAYkMRMgol50Ef8Q7n0eHM7FxkZmSIkrlz14qhxepAFi9z2Nj0zgNC+dmZgN0CibWtC41WUUbcFz9KP2fOnDKVjwc0HpR4gCuN16v169eLsxzn44GstJKKymt66ZlzPH/+G/jBDF7Oz3WWNnnfcnT/6xU5x/5w47dgRmwmGuk94OVbDwtmDxdjAvX89Mo5DYJqI1DjxcpDEWMPhSk/EeHpOdgXp8X69GBMPWhB4xatWS2ajkA/LyhOTsPG8U/h569/QVC9enj/85mYEG6AGSr8sTwO2eH/wm4uRMPagYBfI/EZ6fFJyPbygzHQBztmvYOQID80bVgbo6JsaNysFbJzdUg/sAqB7HMmRxTgDAqRuvxhPLo4Gg/f1RU365NwT+9W2DRvJu597CG89vzTuLd3EwQ40rExMg8pRzZj45J/MWtNFPaumofNx5IRqFUjJDQUG5euZL+GAqd3r8CWRYsQxMqKz2zF0UwJhvwEZKqCkFdgYK+TiNywCFs2LRfLTNzTrl27EBcXVya48YrKj9Sr1WXPMvBKXbt2bbGRPz9I8oOXpV3Vrq9ery+JiFe76+vabS6NR6SyOwbnHDgUi1s6NZVzZRWaHfDRXeydTrnJMQio+98uGMg3S/DTlf1BXfJZxPbzdR45v5T4+AQ0bNhAzp3jsBmhVFfuzeHk+iq962uxWERFPX/X15V37Rq7dn35tHzPlaf5rm+lHEyKjIyUU4QQF36aUaOpnFOFisg6n//nikoIqVxSsRW+h9+Uc6yistBKFZWQGxDb2y05oHvphh0h5LrhlTQzM1OkqaIScoPKzc0VB5WMRmPV7vpmPTCdn+MBtCqA7XPDU4PghU/LYwkhl7J9+3YxDA0NrdqIal9+DMHLn4N50WEEr34BgVOHymMIIVeiSiuqz4Jn5JST0lcPh+3CO14IIZdWpRXVNCkCksl5cziXfcckKFw9NjDZ/SbJKafsOyfLKUKciuZPQUaPcci+7Xuktf8exrVzRHmC4h1kdJiIxIY/I6HVGCSEfIeMR1ci+a0diK//qZjGkXwYUga/68nZukscvBqW/XuQHPyJyBedNCDhprFIvXUCilKBjJ7jUZBqR2r38ciYm4rCTMCYZkHyG+FI6/wHsqZFI7H+L8j6LBxJvh8i/0CBmM+1UKUVtXhDtOjSxcW45ST79c41iY2bWb4U48ay91gSwv9EvV66FQqlBubIFEgK59VsCnjC8/MeUHVrCUVyNpTtm8D7nS4I+LIzlArnRQbKuh2R+cxSmNavhCMvBn59Y6Ht3B3aTs4r6XI7/I7aB9+G/tnu0Iexv7/d0fAOU0H/QndY558Cv6pP2r2cfZYSgWtfhXXkJCh7tYHXky3g0SEAfrdc+Z0xV6tKK2o96Tcovc5diMzzpSMqz5d2fp4QVWgtFI7eAVWzMDSUvoc6JARpHUZB26EWir5YD1VsHHw2fQRNXgYKvl0PBe8OqEkjJD7qvGZaeecQ5H2RiMzbtsD33bdEmT07QAxDD/SBVg2YJ25BUaSdzX8ccmedhXncVtRa3Ed0AOLx0BBom/ogp/8fqB39O9TRMcj/fTfUbeuJeVwrVX7BQ8HPW5D/6Up4dqiPoMPvyqWEkMspfdSXrkwi5AZ1zU7PEEIqB1VUQtwAVVRC3IDi5ZdfpjYqITcY3rPK888/L9LiYNKgQYOoohJyg+E9qHz11VciTQeTCHETVFEJcQNUUQlxA1RRCXEDVFEJcQNUUQlxA1RRCXEDVFEJcQNUUQlxAwqTyURXJhFyAwoPDxdDuh+VkBsY3Y9KiJuhikqIG6CKSogboIpKiBugikqIG6CKSogboIpKiBugikpKFI7ZgdSmPyE54CtkD50FW1yuPIZcb3TBAxEV05FnZCkHFFoNFB5a2POLoAB/zouE0J1vQNezsZi2KvCnamu15x59cqPy8/OTU9cG9ZRPBMliQ5LuM5Gum/0NlIHOhyeVltlvIkybT0N3awOE7nU+u6Wy5eXlweE49zCxG1VgYKCcujboyqSaim2S8z5dhcy+f8Lw7yFRSZX+Hqgv/VJuJeVCNr2C2ic+gjk8AXkfrpBLq45S4wFvb2+oNSpo1CooFYDGQw2FyvmENh0rz3GoRXrVnO3I0ftj1Hq2IdHpoFJroFKp4KVVQcXep9PrMW3uDCiUalaudM6LTcdF7lqDLdviRPpS+Hz563qjilpDZL84H4nKj1D48xaYdsYh54nZorxu7rdieCmalqEInD4Mhb85t/BVzVBUhDNnj2DkL7/icLodksOOtP2zock4CLYTwNjhoVEitF9XGIuL0TxyHX744QesHv8Rli/bBP7Uxd1RcXBYTGxaBaZuPIri1JN4buIW2O0OrPt6kqjQESecF71fyhN33Y4U3iq4zmjXtwYwbYtlUfQvBC17Fp73t5VLGb7q+UNAKyhR8SH0A1shZM2LcknlOH/X19PTE8WsAur5MxFVWpiMxVBp9LBbTfDUa2E0WVhrGohYshi3P/GkmNaLvcdgNEHNQymbl5KFT43OAxaLhX1PO6x2lmftb6uZV142W5Uae08WokszD5GviOu560sVlVRY9uOzUTznEOrbf2H7YhWv4JdDbdTyUUW9BiZOnIhXXnlFpN95+x2MGTsGO3fuRK9evUTZ35P/xt7wvfj777/Rp08fbNu2DXv37oWPjw/CwsLwwAMPsKigxJYtW8Tw9ttvF3/MetbuWrduHVJTUxERESGmu+2228RKdU3TtFlTTJ0yFb1798aOHTvE57nwafk8+a4fX/V9+/YVw02bNonP6d+/v5iH3W4Xy1uaPSUfKXX5rrISqjBf1En50jniP4qOjhaV9UamYHse3bp1k3PXRumKylcSqQJvvvmmnJKkvyb8KYZffvmlGA7/6isxvOOOO8TwwcGDJZvNJj06bJjIswomhpwrzSqUGJ6JPSNNmzZNSklJkZYuXSrdddddktlsFuP69esnho8/9pjEdgelnj17inxpL77wgvTdiBEizTYQYsj16NFDslqt0nPPPSeXXJw9zygl4EMp0fcLuYRUBbbxFi+2IZPoYFIV+fnnn8WQR6fHn3hCpL/99luMHj0agx98UOR51OLtq3F/jMOK5cuRlp4uysUWVMa35C6nTp3CBx9+gMcefVTkJ0+ejHsG3n3BOcjsnJxyz0suXbIEv40ahbUsIp9v165dYpiRkYGRI0fil1/Y7u1FKP30qFf0HaQCExzsRaoeVdQqotFoMG/OXHzzzTf8wGMJg8GAjh07inSTxo0xY/oM1KlXF39PmSLew7HIJoZc6bZbYzY9i7xQqZ2nJ3iFXrRksUhzvOK/8cYb+O6778Su7fnGjB2LSZMmiYM154uMjBRDPs+PP/4YH330kchfjMJLB4n9l3X/dLmEVCWqqFVo99498PQoe1SR7dHIKeCzzz/HnLlzRLogvwADBw4UaVd7jVfY0ufweEXmke7YsWMiz9unGzZsANv9FXleOcePH4/OnTuLfHnef/99UVlnzJgBNavwruVhu+pieCVUvh6w7I2Xc6QqUUWtInyXlVeqj1h0Kh3d+IEil2bNmqFtW+fpktv63IaXX35ZpPmBpYceeggvvvgiNm7cKMpatmwphjyqbtm8WVRaf39/sYt78803Iyc7p2QaFz7vV199VRzUSkhIwPDhw8UBo4YNG2LPnj1i3sOGDcPDDz+MrVu3imXm8+PvcS3LpdgLDPB67uIbBVJ56KhvNSRZ7bAeSoa2c322Ka680yilmTadRmb/iahvH1lln1HT0SWE1ZxCo0J693FIVH0EW3zl3wGT/781opJ6PXkzVdJrhCJqNZZSdwTsKQVyjpNQz/KzqMhXhP2FJCo/ZIlzldLv+4Hw/byfnCNVgS54qGHs6YWAXo2U0G8Aix2625ogdNtr8thS7BJSGn0Pe1I+FFo1dAOaw7w7HlJOMRspISz6Yyjr+ELpq3dOT6oUVdQazDDzAHKe4Uea5eioYq0f/ifgOPdnELzhZeQ8NhuObAOUPnoETBkCzyEd5LHkWqGKSiAZraJHB9Py46zOKuD5XGd4P9eVVVxqc94oqKIS4gboqC8hboYqKiFugCpqFZkwdyfO5suZK2KWh2Ut+WeqnAKOG0U3ByXyTHY5VT5blvOSw9LG/v6XnLq4vxbukVNASvmLRa4RqqhVKDk3FxPmh+PXxQdEPsEE5Ihr7ItE3iVHHrouTTiy5m9WXzNxdt8iuQR48MnnxZBfrn/iVAHmjv0N604bMHH6CoQn8dMnLqXu6zQnsX/yYM9JFtnxM1aJYQqbSbbVgqX7EjBh7GxM2+C8IN9lzIz1WDd1tEins2VeuCcVCtGngtOeVKOYx8LDOZi08qBcSqoSVdQqVDcgAA5zMbq0c3a1eXD+fASKX7z843dm+aYZjVYPqDzgsDkj55FV08TwMKvJ/P6anKwcWOwq2M02BPjwi/5Lz+/cUdvU8M3IPXUECg8vFCaE441nBolyK58tewu/26ZWbS+0adVClLsoYEdgaF2RtrHpvJRmNrmSlTrpdUrUZgtSK8QLxgKDXEqqEh31rXZ4fL62XYaQqkFHfas1qqTVEVVUQtwAVVRC3ABVVELcAFVUQtwAVVRC3ABV1GvOjJ9+/EFOA4nhy50JayF2rT0qkjHyvd579ic6ExeRlRjF/j3XY6HL7mh+oQOpTqiiXnNmpKSkiNTKDVtgtHthXsRZQGPF8f1syNg2r8FXn/6Jg6dykJBtQlHiYSxYeQw710zF3lQbchKcDzeKstfjU4v0tF2nRHr7qr8QmZSH7Ow0/Pvir/j2n4OwGHLw17uPYMI8fhVRJnb8NUO8h7gPqqjXnAONGjmvVLr3ztsR7KfCvn9n4nSKCXabAzumfYLWg+/GTbWK4CFJaBCkx4R/1+Nk1DKE+uthNprx55xN4v19GvEH6yox6pefkbKL3wyuRnoBf7ygAkFBtaHUAU1PZuCvKevg3aAJWjYJY/E3BHtzaLW7G7oyiZAbFF2ZRIiboYp6jfFnuxBypaiiXmPU0iBXgyoqIW6AKiohboAqKiFugCoqIW6AzqNeB2lpaXLKPfDHRoaEhMg5cq1QB9ykjDOnEtCkRQM5R24UdMEDwQMrY/HWumiRLswtwNZ8fnF/AbIzzuLX1azckonlO4/hy+3xeHjVSTEduX4ootZARVY7vEs/epH9BUgK3vugM2OwOuChVrG8xP5TwGCzw+dKH9VI/jOKqDVcmUrKlVRSTgEvNp4/n1ihUIghVdLrjyoqIW6AKuo1Z8LXX38tp6+P/607jtFH0mCMOYt+K09j1NokTDyahpyMXHEb+ogDOZhwJBWj1h/GPetjsGZHrPON5LqhNuo1l4uI8N0o2KdDyBP9Ubx/Dm7udSe2nbWjb5taGDFjOZ574n7UNyZD4+Psrb4qLdt8HAn16+Kt5vzeVnIjodMz11UWewXjj09eQ1GX52DetwX6AAkv3hmKuSvj4RFqxdOv/QANP8JTquVIah6qqIS4ATrqS4iboYp6jdGN4+RqUEW9xqilQa4GVVRC3ABVVELcAFVUQtwAVVRC3ACdR70OMjMz5ZR74DeOBwbSk8yvNbrgoZrZsD4Sp8x2vHFfB7mkfCnHYlGnfVM5dyUc7EU7X9caXfBQzdglB/r3bYPnVkbBkZcuyoysbiUVZ2DxNv7ENyA5LhanMotFesXGKNyz4gTssXEYtCwGv6xOxgMsvz2c30huE4+demBFNMasPYS7157C0q104/j1RhG1GrHYHdCqlOIqYTv7RyXfZ+oqd+HjbaxMw8pOxudg0gkTfuhfG1qlQtyDamfj7ee9h1x7tOtLiBugXV9C3AxFVDdw7NE/5VTlqPtyXwTe0VrOkRsV7fq6mUTFR3KqckiwoYH0u5wjNyra9XV7dlbZ+CmTC3l8e7ecKn88cU9UUd2QuvetqLX0DgSNv41Vx0bwX/Ehwk7ez1amHpoH2kN3UyDQrg38VrwGv486skrNj+MSd9O+fXvxql27NlVUdxT0VgDSP3HA8m0Ey0kwROXCbqqLgBkPAVoVvEfcA0dMIvT607D8cvCi0Zfc2PgVYfylVCqpjeoOqI1aMxUUFMgp2vV1C/yihcp8WWhX2O1QRCXkBkURlRA3QxWVEDdAFZUQN0AVlRA3QBWVEDdAFZUQN0AVlRA3QBWVEDdAFZUQN0AVlRA3QBWVkBuURqPB008/LdJ0rS8hN6jS1/petKJGRUVBq9XKuZqLd5/Jf4cGDRqIvMPhQGxsrLiZt6ZLTk5Gy5YtxW/EnT17Fna7vcY/WpL/HhaLBW3atJFLCKlZlixZArVaLecAvV4Pk8kk53h3xHYMHjxYzlUf5TZRT548WRJMmzZvDp9BS1B7XgL839yGwM/2omGy6txGk208nJvTi1Ndph9nhVIFXQWDt0KtgU6nY8unkkvY/JXnloDfEF8hbLn5jfOXw7+n2WxGWlqayPMdDVcwVW+OR9HN41HY/DdY316NHN+P4OPjI8Zx6kt8J1WpP7byaD30ckoBTanvp1GzZVaowIuU6gvnry6vrNT7K1PdunVx5MgRkU5JSYHNZiv5u8gzmJCRX4wv/t2NxeGnIbH/SuPr0PkdKri+mHPTsp0c9n5OxTsZvwiVpuLzrkz8N+DNy9OnT8slEOlTp05d8nXixAnxGxJSnfC++WrVqoXg4GC55Npq1aoV3nvvPTz11FNyyZV54skn5RTw2OOPy6nyqb5m5LSQkJBQpoUREOAP7ydvgbZbQ1jCExA45RGo6/giuyDPuSeel4QcXTD8TInYejQBBzZFIisxCmZHFtIUoajtq8PWzRGI2jsBhdlG+DRpC63kQG5ODvQenoAtDdkqX2htDuz4Ywe2xmyDtjgdKi8fhB88gtiUfGxcugNZyQfQtn0n8SCG8C0LEOApYe+BGMTZgpBabEPknq04siMGWYWncDQyA56GY0jONWNfphabw48gefs6tvEtgm/tRlDbjcgxq6FXse/Jv6vcwuJ44JwzZw46d+4slzhZrVYcPXq0TKvDs3EovF/vAdOqEwicOhR+Hw4AvLSidcL2ErBg+LfocEdfzB4zHjnGZBRq/DFn/kYs+W4W1PpU6E2R2B+fi/Vp3riljhcyM9Kg0HhCy4LtP0NnIqFpICJ2bMF+qxcyTCosnrMOMVv2ILv4KJatyMe29GhErp6DnNQoeAYGYeL6E0jYNxprjllhD38Hmeba2GVogKMJmXCc3YVfV+9Hfvgs5Em1sXflChw+sB6tO98Gtnskf6OL4wHim2++QXx8PDp16lTyN8Kf8cY7teQ7Eq4yKwsKX8/YgL7tG2L/kUi8+UAvfPbPTtzVqREcbBqVyoLPvv4e/s27IXbcFqSnbYWiYT1sDY/F5sjT6BSmx5rlqxESaEJyThE27ItF9JZTyFkVg0a3NQEcBsyYOhc3d22H9TtSEHE8EmcOLEX7Rt4IjyvA1ngL2of5Yv8fm2FM2Y9sKR/ZCEWQ16V3Yq4W3/OeOnUqbrrppjI7dLx+GI1G+Pr6oqioSOyV87KLvfgOXg6rF9drw0NIZeE7h64Gi8FgQH5+PoqLnU++4vi2gge6y1m9erU48sWPCvJts+tIYUW98sorWLduHQYOHCjm0bNnT3lMxT380EN45tnnsGbNWsyYPk0uLV+ZQ758gQsLC+WcU+PGjUXT3ZaYh/zP1yBo1mOinO9R840AJ2bBAoiCBUre2lRp1JCyIpGmboYQT1ZeerpyKFlThT+RSMVaV8u3bsN9t/V0buIdDhHs+Pudb3W+X+R5Th7PWzoKVsCfisTnJU8EB9uAOVcqn/r8efDlEcky+PT8sK7zM50T8DLeMr3jjjvKfAdXazTt5tEImvckNM2DxXi+8eT4PPhGVM1+D5vVzlrSSnj7eOO7r0biw8/fZEGadw0olfksF/6ZbAz7Dewso8KOf0dhwNPvodgqicMKbAnl31vJdjJYkOI/AMPzfJ7hsx9A98eWwMHnzUew+fN1w9lsrmWyyr/P5fFldA3571MaL9u4caPo19L1203ZdBwnk7PRrn4gjiVk44EuTdCrTb1z35MNlSz4uPIOB/8dnPPinyQ+wbngopyN4f/I0/Pfy8GW3Vmm0+mxfdHf6HnfU7CK+Th/TzHkE4i0GFQJ19+Ma1gaX46AgACEhISUtFhLfoOL4DtvdLiYEPdTElD5HkR6errYCJFz+EbywIEDuOeeey67IazJ+N/NqlWrRMv+/KBS0/Hfo06dOmIHjO9gVUSFT10QQm4YCtaaoihxGRQgKq6iLV5CCKluFAUFBdc9oPK9cX5Yma4qJoQQUhFbt27FLbfcIueqDr8tRlwXcxH86By/7oEfwSy3OcEn4BefVASfSWJi4kUPFfNyfsj0008/xZgxY8TVVh999JG4yOVSXlv2C15lr/MV5yVg/rHdrNlowelCs1wK5GeekVOXxw9vuyQmnZRTVyYj23muOTX33KXgV2P/8fJ+Zwsyitznak9TTjKyU2LlHJCTkiinnJLTcsQwMSFVDJNTnMMyrAaYbRfu26WlZMipS8tOSUHqZaY15SbLKUKIO3HdkF1aeafg+BEyLy8vcfcBjzH8gqhL4Rc88etjYmJiSq59OR+/8p7HMddr3rx5JadH+av0clwQUPntD3FxceIwJ/8w/uK3jZyPfzgfx6flH8iHWVlZ8thz+Htzc3Px008/4d1338Wff/6JcePGiQsvLmby/uWYdXgd/mGv8XsXyaVORaYsRByLZEtuwua0PHy4bAPsJjNiDy8QF7KMmD0ZC2d/wVI2/BVxAvcuXCXedzHzV/7J/i3CH0cT8M2cv0TZVyt3sa3/ehzOk7Bj03hkn56HPDZzS3EeLHZgy+KVCA3yQcSGxQgLsODDedGY/f7z4r1jlx3Duz/+gcwtU5B4ZC0SDA489NM8tkyjsGPaC2KaLz74Dmf+HYtclh45bRE++5Mto/ksRm1PRH7UPOTDgAMpZiTmGrFv2uPICZ+JOLYKioqL8PmfW5Gxeyoy+c8nmfDZ7mxIdjv7nS04Nf9pcRGO6eRGxLLxf05ah+/feYWVFCNu0zdsCLzy1VyY47Yimn2hN+dEYf4XL4ryPybtw/APPmDzdF6Jd3zmhzCyobEgDVO2xcOeuxfHHQUYu/wM5rzfX0zzwrIYNusMJEl1cWhfFDYtWoDihD0wFp5iYwuwP9OOefM3IqjgMEzJh+GlLkZCdgbsQbWwPiobjoKzOJ1lxj8bo9iXS8He9cthYL/vynlTxfz/XhCOPTv3wWHkf+hGbDmegoWrw1nShMPrZ4ppVmw4iOK4Q9CG1cG27QdF2ak9K8Rz6tbPmY0T29aK32TeX9PgyD7BUgasPpKO5L1L+KSMBBNbt/OnLML6hf/wWoqi7MM4W+jAiU3zIdlysXnrGlxYAwghVY0HuhkzZmDmzJnYtGkTNm/eLI+5EI9Zs2bNEkH18OHD+Pfffy96GxoPhLyhxy8U5Glvb29xUW5GxuV34DMzM8vcU1tauYd8+QfwVme9evXkkovjX4JHa37RxcUu2uG3AowYMULcQtCoUSP873//K3NxxvmHfB2Sg7VWnAFXp9ZAqTgX903mIlihhY9OA96gUUs25Fls8NWooVSxMrsNaja/XGMBm8ZPzEt73n2wvIXq5+cn0na7lX0+e59DgpoFYbOkhsJhhDp1F3LCesJH5QGdwoEc9gMG6j2QcnwzQtv2R+b+9ajVeQDbI5FgZV9F5bBDya+ctTugNkZht7k9egSxbb/FAQ8tn4r9ruyVm5MN38AgKNiKVrLvbLbawL4K287HYXWiL25rHAhvnQp2hwIWQy5UHl7QqrUoys+FzscfSpsZ+UUWBPh7sZ0KFQt4ufD0DeBfhQVWC3JZyzbQzxPDn/oG38waDpMhHw6NLzzZT1tgsLDfRImcfAMCg/zFd1ay34f//jabA1YTa3Wz30zLWsgqjRb5bL35BAayuG1AkV0DPy8NWy72PRwWtuw69msBaw+l4N5OdcT6FBfSsL8B/mBzhUKFvSvnodu9w8Sy2fjVzuJz2FCtgoMtq8WmgJ59eTtbDn47qcT+7mxWB9auWYaBd90DjU7nnK9SwX5H/juxvwU2byP7wT10Wvb3VAydzoaj2d7oGKJk77XAyuav9/CAmY3T6j3FFeD8z/Lf6WvxxLMD+B83+5tQiO/Nl5Rf+cz/LrVaHZvQxn4TJaz5kTD43oQgNb+S2gYV+xsU6/Uy91MTQirfL7/8Io5q8sA6dOhQeLD6zW3ZsuWC2xt5Qy8oKEg08PiV9fxWHX7bWnl465UHXh4LePzhjbzWrVuLdGk8fpWObfxI6/333y/ugOH4OP5ZfHjDnEPlQdz1QxFCCCGXcq3OofLAe7EWKcdjFw/iIqCyia97QCWEEELcHXW6TQghhFwBftqQt0zPRyeFCCGEkKvAu+rlF0u57r+nFiohhBByBS7WQqWASgghhFyBvLw88bCU0vhTddz2kK8j24BkxYfI8hsOWzy/oxMs/z5SFB+JtHlvPFJZOknxrsgTQgghVcl9A6rFDu8HOyA4/xuoGzrvwyxN160hwqRf4BUUIu4BJYQQQqqS2wZUdZgv/BZf/oGxAVn/kx/8RQghhFQdtw2otrhcJIhDuh/BUXxhx8W24xlifJriQ+dzU8+T9dAMMT7dd7hcUhY/dMzHZ/QeL5cQQsiFiuZORcHWNNjTi8Tji7Nv/QnObgAykTh4PYzr5qNgd7YoASQkKr6EI8sAe1YxHBnHkPr1fjhyzEjqMwlsJkh+YRPsGUWwF9qQ99VYJHf+QbwzscGXYniOCfH9l6B4zGykPzUCNvZf0tu7xJikNr8htf3HIm1euALpk05Cstlhy3V2oukoykTK14dgO7sPGQvTkPPq9zCcsYjvwCW3/lwMLdEHkLEqHzm3j0RRsgmWw4eQuSQTBT9OQFEW+5zaXyOpw59AwXGkvLEP+cN/giXL2ctdsuJTWLNjkPrdMedvU+zsBjC79/eiW9PqyH1bqI0C0ED6BfXYS8n71TuPuk2oGF9b+lV+6HZZwYufEeNrFTj7uD1fHTaOjw/d8YZcQggh5ZAkKEO9oarlzXsDLWFNSIW6k3zKqUy3lUoog72gCvZkaTY2UA9loA7qtLOwqjSAnw4qPj8fNe8bFf7rP0feNxMAxfkPFNHDNyQe2cuAWhOfR4r/pwge2xMF/xsDbY+G0PfqisQn18B08Di872kEhSUOaR9tF+9UeodAf2A90m9fg9AhtZ3foY5WfAcn54ky+85TUNdn21eWVdbVQ9uxBUxvL4LrAlfJqkK9I68h+eFlbDsrStiEbKQ9G/ZW9aHkXcwGezh/G8+yXfpVR9XmKl/Jakea9mNxeLe29JuzkBBCqhNrKvKP+MKvs5dcQK6Hi13lS7fNEEIIIVeg2t02QwghhNxIKKASQgghlYACKiGEEFIJKKASQgghlUAxaNAguiiJEEIIqQD+sPHVq1dj7969cokTXZRECCGEVBIKqIQQQkgloIBKCCGEVAIKqIQQQkgloIBKCCGEVAIKqIQQQkgloIBKCCGEVAIKqIQQQkgloIBKCCGEVAJV8+bNv5bThBBCCLkEm82GJ598EklJSXKJk5eXFz0PlRBCCLkS9DxUQgghpApRQCWEEEIqAQVUQgghpBJQQCWEEEIqAQVUQgghpBJQQCWEEEIqAQVUQgghpBJQQCWEEEIqAXXsQAhxckgo+jsc+Z+vgSO7iBUonOUlQxfXJkOCqpYf/H6+B15P3cJ2z8+fzr0UFxejsLBQzpGrpVAoRCcH1dnFOnaggEpITWazI/uZeSj+9yDLyAGRDXRdG8DrrZ7Q39USSl89FCrnOMnmgCPHCNPq4yicsAfWQ8nn4ivbkHq91g2BfzzodsHVZDKJl8PhkEvIf3H69Gl07dpVzlU/FFAJIWWk3TQK1mOpIq3QqhCy8RXoejcW+StlXBaFrIdnAHbn5kTXvQFCd78l0u7gkgFVocSZ4weQV2xH1x49YDNb5BEX4vsd8k9QhsJaBIvaG5pS+xlGUxG89FrsPxAJh1cQurVpBJuj/M2xku2gOModp0BGdgZqB4fAISmQlpGJsFrBuNRWvbgwF3oPLyh0bEfJXjU7EBRQCSHVhnFTDHKfnw97Qp5cUj6FpwZ1Tn8KZZivXPLfWCPTkNZhlDh8zFuptY6+D23b2vLYG9elAqpS44GF61fh4dvvgCP9ELJ8OmHxskXQZQOvPNcR4UUN0TxzOYo9G2DyzlQ0lhJYQNPiyZdfx6QJE2BTFOG9h/pixtpEnEk4gS8++xiSSolVUQW4IzQXmb5NUVdpxdZ/P0enjp2x5STg0WEALKuG45EPf8eC+RtxPHozHn/xdWxYsQs+YbXQv7EK6yMTEVKvL5JPzUSAbwMoWPr04S14qX9LrD6YBCm0CeodiUVuXTuilY3xQQ8dpm09DsnowEsvPY0x89fi7fv7iFV1NVQaLR7ufSuyFVqRt1jUmLNuPep5SjU2oNJFSYRUI9mvLEKi4kNk9Z/EgmkutF3rI2T7a6hb9D3qmn9EnZQv4ffTPVA1CoDnk51Qz/BDpQVTTtOuNurbR0LdJlQE1fR2v8KyO04e675yUs6yoBaNkYsS0dDbCEkdikBVMRQ+wTh6aD827DuBOm26IyCkHvShzXFr2/pItVph82iEpl42WGHH7UPux6N3NoWWBVNJUiHfYoVCIeFkZCSO7duAgEHDkZaYgrZtWiEpKRtBdf0QdfQY0uxAz/bN4MHm0aZLJyQkH0dxVhpaduiIM7FnYFIEYMiwZ5GcnQmrzYaEqJNsHo0RvvMYWwdZGPTwMDTYFgtLQRratGuHrIRk9rlK+Gv+W+vUbrVg/uYd2L5xFWYt34wdO9aJYFqTUQuVkGoi+4l/YU/JF+c0fd7rDY8H2sljrgMWTJNDv4Yju5hFWSXq5X8HhYdGHnnjueQh3yqiVCqv3zlbhYJv/EtOf1c2OuRLiBvgV2Lq9XqxMTqflbcI2B66h4eHmM7T01Mecw7/c+fjOI1GA63WebjKVc7zvJzjGzuj0VimjE+XmpoKg8GAwMBABAUFiXIXvlG221mTohS+vCqVSs6dm69Op4NarZZLnd+Nz58v9/kbdz4dn96Ff1eLxSKm5VdVXgyfH/8srrzfg8vMzERubq4YX69ePbnUybVM5zv/O5WneGkUsh+cylJ8XUlQ6LXweacn/EYMZD/+pd97rZnNZvHifz/kvztz5gw6d+4s56ofCqikWhg8eLAILPPmzZNLnHjwuffee0WAmzVrFgryCzDs0WFYuXJlyYafB4fHHnsMy5Ytw9ChQ0VQXMHGK1lAGj9+PObPn4/g4GAsWrRITP/rr79ixYoVWLdunQio9913n9joDh8+HLfeeiv++usvMe3tfW/HN99+I97z7rvv4vDhw3jppZdE0OHBjC8rvx1j7py5qB1WWwTkRx55BB999BEeeOABnD17Fs8//zzCwsLw7+x/+XUmePDBB5Gfn4/XX39dBMyjR45i67ataNmyJSZNmiS+48SJE8W869atKz67PNOmTcP06dPF78Onb9OmjTwG+Prrr7F161Y8/vjjeOGFF8R3mTBhApo0aYKpU6eK4DJo0CB4e3vjiSeeKAmsfNi7d2/UqlVL5C9FsthhOZgEw9/hKJ55EJLVubPBW6u1oz6AunHZHRJC3MHFAiqvHIS4jYcfflgKDw+XWHCQS5zef/996fTp09KTTz4pl0gSC37SwIEDJdaSk7KzsyUWjCUWWMS4HTt2SL169ZKyMrJE/s4775RYMJP69OkjpaWkSiyYSHfddZf0wQcfiPHPPP20NGDAAFFe2okTJ6SePXtKS5cuFfl33nlH6tu3r1RQUCDyXHJSsvisJYsXi3xKSop4DwvsYnn5Z8bFxYlxLnxZ+/XrJ7HWrlzCvuN774l5s0ArzZw5U8wjKSlJHnsh1soV82Y7BdIbb7wh9e/fv2R+bOdBLBNrSYi8S0ZGhrRhwwYpJydHYq1g8Z2fe+45eWzlSLt1rJSAD8Ur69m5cikh7iM3N1fatm1bmVd0dLREFyURt8L+lnHzzTfj2LFj4lAlFxUVhfr16zv3EEvhh2qXL1+O+++/Hx+z1uCSJUtKDo/26NEDPj4+GD12tNjT5K2xR4Y+IlqJP/78E2JiYkSL9sv/fSGmz8rOhr+//wWHORs0aCDKIiIi5BLnMt59991gAUu05J548gn8/fffGMxanS58OUaNGiVaq/zwdUBAgDzmHL5MLKCBBULccccdiNi3D6+88gp8fSt2EdFrr70mpuUt999++00cJp48abIYd+jQIXEYmbfISwsJCRGfV3p5eAua7VyUvNhOygWHta9Erb1vwffL/iwloXj6PhRNOffbEeLOKKASt8MD1tixY/Hqq6/CbrPjm2++EYday8MP1bKWHF548UW5xIkHsSFDhmDPnj34bsQIEUR4gOGHYXmw+fnnn1G3Xl34BfiL6Zs1ayYCuOt8pMvmzZtFcHlwcNlguWbNGuzcuROsJYyXX3pZHALOyc6Rp3B+B9aqxsaNG0Xg5UGPL0tpfHnWr18vpuGfw+f16KOPymMvbffu3eLCEB5E77nnHnEIme9gzJ03VxxK5mU8YO9jQbo01joVv9exI+cOZzVu3Fgc9na91q5de9nzp5fj+0V/KDz4+WsF8j9Z5SwkxM1RQCVuiQetL7/8krX6BmPMmDFy6ZUZNmyYOLeYmpaGF+WA26lTJxF4eDD69JNPRRk3evRo0arlLTR+PpF/Jm89/vTTT/j9t1Ho3OXiF2Dcx4IlD6C79+yWS5x4Gfftt9+K18cffyxakhXFg9ozzzyDO++8U7z4TsG4ceNEoOS/DW9t88C+evVq8Vq7Zq04//zaq6+JIP7ZZ5+J86i8Bc/fx8/rfvfddyLQt+9wk/wpzhaq6zP4q1+/fiKo/idsR8h1PlXp7yGGhLg7uiiJEHLNZdz+J8xbz7CUAyFbX4e+T1PnCELcAHXsQEg1kNriZyQqPhCvrCfn8NOQbsV8KAlJ6o/lYCohZAsFU1J9UAuVEDdjXHsSWXfzi4vk+0/ZQN0iBLruDaHw1cN+OgvmiAR4DO2AwPEPOae5hvK/XAd7Uh5ULUPZwlph3nKaLU8ii6auezwl6Ae2QsjqF0u+AiHuhO5DJaQaKp59EPnfbWRBNBuSzXXlbekoJUEZ7I2QDS9D27GOXHZl+AbCMHM/CkdshP+4B6Hv36Lk6TMu1lOZyB46C9YjKSzHx5XarCgUUAZ5wuv5rvAdfieUns7ONAhxVxRQCalhHHlGZPT5E9ajriDnpKrvB68nb4Z+QAuoWoSyAKcRQY8/JsWeZ4D9eAaKpu+Haf0pSIVm+V0c77npUmeJJKjq+iFk0yvQ8NYpIdUUBVRCajjjiuMo+HYDLAf4M0x5a5YH2bItTSfnJkHBWpL6Qa3h/8u9UDcse5+sZHdAMlmh0KqhuMG6ESSkqlFAJYQQQioBXeVLCCGEVCEKqIQQQkgloIBK3E5aViEcVgPMV9CdbGpKhpy6MunJaexfCel5zke+VURiYpacOkeyFKHYcYmzKw4z8kwV/0Ipaee6MbxSqanpcuriCtMTcerUKcTFnWXDk8gsNMljzknLLpRT59gsBbBcp0d8EnK9UUAlbmfxxiOwZMcgKT0BCxYscBbaDIhNz8aSLQdF9sTerWLIr0w9EFeEk8d5RwImnErNxJIFKzHi62+wOyoROzY6uwMsjD8Eg0gByxbOw75YZwBeOps/ys2C5eGxIr9x2WIs2+g8d5J19iCyzkQgOqNA5Lnj66eifn07DqQ7o8rhHTuwf8ty5GafxJnsdMyduwAFclzNi92D+QuXODNs+dNy8zHu52+xcEM4HIVp4tFs6WKhihGTkiPycdkWMfm8xdvF8Miu1Zg/z9kX7uKJv2Ha3JWI3bdWPIpt8aLFKBJjnPZtW4mlWw5h8XznZxbEHcL8+fPAw7hky0dCZjrW7jgixvnUqo8WLVpg6bItbNgSIT56wJjGPmse8ozO77Z0S6QYRmxahQUrdol0UcYhZFlFCht3RbOhHYvnzcfWQ6d5IbJORSA1Ohzz1uyCrTAZcxcsLn2DDSFujQIqcVtKzwai/9lx/2xhAcmExDwFHrz9ZjGuVbde+GddJDYsmotbGnnjyCG+cbciNleHBx+5FyF+AejRtj4OH+TlLNSmn2ZhExj59XfIyivEkc2LcCBJRAYnpQpr/v4B8Vm5yIoLx+KdJ1CQHgOvJl3ROlR++oshDquirfj775VYP+E7URR75BA6334/fOwOqLyD8eijjyBq4V8oOhuB2RujUJCXjbGjprO4X4R4gwa3NgnBkDtvBTyCEciWaN9RvnxmnMzRib6Hg9I3oaStbczGpng97hl0ExYfyMWgvm3Q76F70bTLQGgyE/HAww/BW540YtEf6NLnXgy+vRM8+ZW9xkhMXXsIBQWF+GP8FCiUJqQYAzCwdwf5HRf6bvxCFBQWYs7k8XA9IuDo0jE4Gp+G/PRozFi6HWqVCnFnTmD14QL079kaYyetxUPDhqJvp4aYtIb9ZkknENr6VgzrEYQ9Bez3eORBjP13hzw3Qtyb6mveOzYhboRvtMNC/aHWeUGvlvO1/KFSa+HnwQoEJVr5FyC0Ux/o2W4jf+pMnbq1oFaqEeCpQvMwLaIygcED2mHN+u1o1LoN9N6B6NP3NuRnZaBR5364paEvNGoNatcLY+9Tole/gbDm58AzuCUG3daWBSE1PHyCS/ZKI44lYeiD94jHy/W+vQ8ORqeiQVgAgsLqQKFQwtPhwKbNO9DtgWHwCqiL1nU0KDBr8MSTD4k7VVQaPdq0b4q1e2LRoq6naJV27HgzfDysLJBbcWr/dgS2uxO1dUq2XGrUqV8PppST8Gp0C8wJB9D05juwd+NW5CfFw+YXhDOxp+EV1gzeGqBum1sRdWA7Dp7JQ/tm9RDc4CZ0qOeBvGIHHn1sKJT889nv58PmXZpGwz6njvNB4rd1aYbM7ELc9eCj8NEoxe/eoded0FkNUOjq4OFBPdnXUCCkdlO0reODPQeiMeS+bti0dh1y7V64r1sTKFTsN/MLFb+HSu0JX52CfRcV6oRU7JF0hNwITCYT0tPLnjrx8vKi22YIIYSQK0G3zRBCCCFViAIqIYQQUgkooBJCCCGVgAIqIYQQUgkooBJCCCGVgAIqIYQQUgkooJIaIBtHz+TLaaeYZe/gyAln2cjR43FhZ4HA5O+WySlgy6x/sW3FajnnNPVfZ69MV2vu2H/klBH7c6m/PkLcHQVUUiPYXXdbm3KxceNO2JQadPCIQHT4bjx/byfw7iC+Hz0fy6b8BbstH2vjzj1Y21aQjNwGjaEOUSHJasCijTHyGAWWjnqLDW34YNR8bNu+HWeyLThxdA/e/HoC4MjHyulf4FCKCe9MWM7Gb0N8jrOPoZjVC/Hg20+KdGnF0UucXfEZY3D4+AGc4pPn7kcaK5y6+Ti+HTeDj8V7i6Ox4N0xIj3vm/XYv/B77AzfiRlTDmL26M9ZqQFbD6bBenodko+uxoqt4djOlo/CNiFVhzp2IOSaK8aeHE90D5SzF2XGz38thW/2Qbz2v5/lMkLI9UYPGCeEEEIqAQVUUqMdOXIEFovzSS2kaiiVSnTo0AFqtas/ZUKqJwqopMbinVjXquXs4J1Urb1796Jbt25yjpDqifryJYQQQqoQBVRCCCGkElBAJYQQQioBBVRCCCGkElBAJdUef5K+wWCQc6Qq+fn5ySlCah4KqKTa8/b2FkGVVL3WrVvLKUJqHgqohNQAy1Yfk1NATmo2ei+IxBmbBCk7E10XHsfoTbE4fvgkYCjAkj0n0IuVAYVYeyoGdyyIYmkHHp0fiec2x8Nuysb0bWfw8f40PLzkCHZkWFCYlYo+Cw+jyCo+gpAaiQIqITVBqbvNx+xKxo5H2mHMzkTM3p+EiCGtMTOlGBYz7/hCQmjbplh7s16k1QFNsaifN7IKUzB6aDukpWRApXTgpk5N0NOciUUPdsD66HT8uTsd24bchC8OlfeYAUJqBurYgZAazYHwtGJ0qe1Ne9eEVBB17EAIKYcSt1ZGMDUW4X+742Gmx9mQGoxaqIRUe1bMizHjYa9sqLx9sapIixOHk/B6UzX+LvZBaFYaWrRvjGmH8vBZeweSdbWx5UQGtPn5aNtQj25NG2BJohHFKUXoX9uAorC62M/mV1x0Ft1bN8Hs4waMvqMeUJCH7TYP3Baokz+XkOqJWqikBsvGEfkB47Mm7BbD/8aIGYcL5bQ70GBQQDbmmvyh0GqxKiEHOWot7Kw1+XanUIT5qbE9tQDeKgUCvfRYeyYTSg8t/LVK7M2SkG8vwpncYuwuLkSgrw6rYnLg56mDzQh0qR2AU6Zi8SmTt2dQMCU1GrVQSQ2QjeNnNGjTxFfkJnz9Fbrd3Q95tXqjA47g+8mLMOr777Bm0gTo73oFZ2asQJsBjZDvocadDb0QkReK7o288OPWTCSfiMS4V7th1mELnupI91wSUhPR02YIIYSQSkCHfAkhhJAqRC1UUiMcPnwYdrtdzpGqoFAo0L59e2g0GrmEkOqJDvmSGoseMH7t0APGSU1Ah3wJIYSQKkQBlRBCCKkEFFAJIYSQSkABlRBCCKkEFFBJtcefhVpY6E49G7kvf39/OUVIzUMBlVR7/AHjPj4+co5UpVatWskpQmoeCqiE3CA2b+QP8gb27zvF/rXg/gWReD8iAyjMQN8FRxBnAN5bdgQvbY3Hlh0n2TQOvHcwG3nxaSiyFOMeNv38mEKkxifgzw0nMWDKXsxIZG+SjIjIMkOyZiILEu5aEonfjuTCcCYBv689ipSkJAxYfgLTdqXAVpSN/guPIiaPLc/e47iHTcs/55F/j2JWVD4cxjwMXHgMh7Mc+Cv8BJ5cfgxLEov4YjMSvt7HlpeQGooCKiE3CLt8S3jnLi2QzILd9EfaIf5QIhJyJWx9pAM+3RKDB3u3wQteebi9dzP8OO8ofg81YE6yApEHTmM5m/7E0bNQSBYMu6MlPm3ogWfqewEKD4Rlx2HFKQU8ExMw/r528DkbD5XNhvcG3oQZ4dlYf39LHMqTsHxvPDYOuQlj9ifAL7QOVveti81puZj8+E2IPHkaOw/EY+2Q9pgaEQdTnhH/3N8ek4+niuU+FJOLr7uEijQhNRF17EBITedw4FieCe0DPeUCQsilUMcOhJDyKZUUTAmpBBRQCSGEkEpAh3wJqQQHtG+iltVDzt2YTDCjmTRWzhFCrhYd8iWkCimsZvA90xv5pYWK/UsIqSoUUAm5RiQW0EJGtYNnd/54Mwd7WVmZVaQl2OSXRR4nyWk7fI9+wobOcfrPHpant4gp+HjnfGxsSAi5niigEnJNSAjc/RIKVpih++B1OG7tAJ9Qb6i+fpqFx8YIeEMF7XcvQc0CY0j4y6h15i3o+7SFR/+m7K0S9Ks+ltuXdni8+CI8B7aCxz2toHhsADzYGN3MN9l8eHAmhFQ1/uzfjh07lnnVqVOHzqESUhkOKl5CCC7d7R5vUSrYfzzlxNO8NaoUJYqStENM5xyq2NBeasjfw6fhLVOlmMq5X8zzlz6ky1uxDaTf5Rwh5Grl5+eLoHo+aqESco04g6Ez5XxxzirozLnSfMindgbIskPXNCoxxbkqfOlgSgipetRCJaQS2AqMiH55upy7AbFqXveV2xF4R2u5gBBytS7WQqWASgghhFwBOuRLCCGEVCEKqIQQQkgloIBKCCGEVAIKqIQQQkgloIBKCCGEVAIKqIQQQkgloIBKCCGEVAIKqIQQQkgloIBKCCGEVAIKqIQQQshV4L0lle4xiQIqIYQQchVUKhUiIyPlHPXlS8gV4X142u38UWnVB9/D9vX1FRsHQsjlXXHn+KdOnRJvqunq1q0rHhzrwjemO3bsgFarlUtqJrPZjD59+kCpPHeQIykpCampqXKu5vL390fz5s3lHCE1S3p6OiIiIuRc+Xr27InAwEA5V32UG1CtVqsIqDU9aHBFRUXo1KmTnAMOHjyIli1bwuHgD4OuuXggPX36NDp06CCXAIcPH4aXl5ecq7n4zkbr1q2pxUdqpPICKg8zpVt01TWglnsOlW8odTqdSEv8N1CzyUq9LtKorZa8vb1Fy8vFw8PjXDDVsA1m6ZfywkMA1RX/DUoHjISEBPFblaZkFUhZg34TF71eL+oQIQS45557cNddd8m56q3cgGqz2UqCZr3wIgR9tQ9+z6xD7Tnx8Bm4CA1bNBXjOJX63Ea1PArWkrncJlWj1bE4XbENr5YFeh7sXVMrVaVb0WwDXsHtN1+uisrMzBTDqKgoNGjQQKS9fHyQ4/EBbG+sQn7wtyjuPhH4c78Y58SWRU6VR813Ti5GoYRKHq3WeTgTjFKlFg+K1slHDtSuiVwUKvapZXd2lCrnjlFVaNSoEU6cOCHS2dnZJX8zPJCaLDb8uGQ/vl8UgaTsQrZ3KkYJKrUWWq1GpK8k3pasc7UGGvZ3d+l1WPG/hcrGfwfeSnWJjo4WR3wu9zpz5oz8DkKqB36K7Pjx44iJibku1x7Exsbik08+wfvvv48777xTLq043nBYuGiRSGdkZGDjxo0ifTEXbJHOnj0r9rBLsI1D4KxHoQzwgPcHt8HjoXbyCL7dV2Lz/OVQsQ2Xgm3MPfTOjbdW7wGNzhloc08dQJFSB41Gy4LEhVu47NhtiE3Nwu5Fi1k80ECtcQZXhVIFvU4j5qvV6p0Lyt6enXga64+mQGIbVa1GjdNbvxXz1XvooSpOQ3S2ggUaBVRsPlrWalQo1WxZdCywsHnLn2835CK/yAQr2+jz7+eyd+9esTFMTExEcXGxXOpspfLzyfxQeOlDvV4PdYP/+AfZb+ONWofeY3si5+YlmVJw1OQMGnpPb+hYAOXfxdvTgwVTBYzFVrZjoIWX54UBz2E+gj8W7GeBQ4c3n38cPl48gCqQumsRCj19cV/X2+HhZcaamBx4evuI76XRsMCbsQuxBl/2/flOigaeeg2OzR/CPk8LH28vtlCshe3lzdaXJIYV3olhAXzatGni72L06NFsfiywM/y3MhgMyMnJKdM6HbloN5KzC/DB/Z0wtHtzLN8fjxOJ2fJYBfbOmoyEw2vE34/E5hWdlMOCrLrk707n4SGCoZqtX74OneUS7Gz5VSy/af0unD6bDMnO1h+L1Hr2d6cRvwGbB/tNObW+ECdSjWx6DXT86EEV4RWW/60UFhaKVroLP5Lhyvv5+YlD5K5L7C/24kHYtVNCSHXAd7rr1asnrkXhr2uNB/K3335b1D9+bcOV4u/r1bMnZs6cJa6d6d+/vzymfKqvGTktxMXFlTl3WuuW5qyyA8ULjsJzSAdoO9eDg21PXVc5JZyMRaPWLbFm0QoUGVN59MGO8ChsGLcFXe5sD1NOOlTeGqzdH4eofdFo06oBLMYCGK1sQ82CbMSsM+h0e0vUbx+KlJTTOBCbhw0HTsJ0NgLHjh2Hrz4fp1LzsD9Lg+ZBeniyQJ0DPxxYuwaRJw6jgV8RLHnAweNRMHn4oygjDpJPCFZt2YH0ExEIsccgKTcfeyMzcCQxF20ahCA5Mw21goJYkJX3J/gXZPjKnz17tvj+jRs3FmUuBw4cQOfOnUs2eCJg3dYUCp0aReN2wfv17tDcFAarSt4g2g3IYstZX0rGH3O2Y/30NShK3ocUQzL2p+hwJCofY78bj+PHluKO2++CzWZGckYu/Hw8YTNkIznmCFoH8w1sDo4v34727b1hqd8WR4/Gocug7tClRaC2XonlO6KxcMt+RCx6EwFNuiDx5D5412mLT8cvx4nNk9G6dhFCmvTDtLEj4du4Ceau3YUWDb1ZgFyGaYfSMLBj2e9ZHr5nySvFu+++ixEjRpTZ6AcHB2PXrl0IYr8nx3/J7Ydi0K5xbfy5cD0a1vJHSo4R9UN8EOrnKaZIPLgca2MUuK13Y8SkFbLfNgrJO7fCWBQPXZ1WOBWxDUfO2rBj/T7EHV0FgzEf+oaByCpmOwZsndlzIpHt2ZD9jexHceZh1gK2YH6iEvtnLkRR5gE0bd2J/WVbkGeRsHrudhw4GoVOHVuw5RaLWKn491+9erU4LdC1a9cyv01eXh7CwsLg4+MjdtI0LLhfCq+8/Jz91VR8Qm4UfCc7OTlZpAsKCsSOJX/xv20XfqSP73ReCj9is2/fPrHTygNjs2bN5DEVx+tgq1atEB4eLi6YHDZsmDym4vhyx8aeEUfV2rRpI5eWr0wLlW8Uzj8PZlwRhZy3lzkzrJWV1n0ci4TOFgrHNyC8NVmk0KM9+7D87Aw0a9sJPnpnUOabF96qa9emE4K8o0Xs0vsEI8CXb1wdaNw7DwWSGkdW7UIYa5HWadAU/kYL8k16PDj0MWgUSnRsz75EcrbYWLsYtfXwGBtvttqQk56B3nfej5Ys4KYkZCLQW4XABi3QtI4f7CoVmrXsiPptWiFIbpEGsh/GaGcNSvbe0uLj48XVmXwFlj484TpXWLp1qmTLlVDnY/GbcJn3/g3D1HCRFtgX5y0wR3Em2va4Hc1rWxDHAsPtXVtDJbFWNHtb8y79cWePLjCzJqWk8kCLRvWcG33JgT4vPIn3puxGI28LHvzodXy/LA6Bvg0wbcYf6Ne9F56bmAZNcTZ63XUnvFlLrXGzRmgZ4o0jMQUI8tWgXrPW6FDHly2GEmvHTsGTw/ohISkOPfvdCX9bKnoOHobJr1bsvAb//uPHjxeHTqZOnSo2/C58/VssljLnU62WYuQZTHjxgb64qWl9mM871KPxaIn3nrsDyVb2O3j4on6DJkBAQ3Ts1hmG9BioW3SHJT8LvrXqo3XzENzcqROKLGzts/+VCht8G/WF+uAhtjOjRebZfLRr0US0tv0atsPNXTrAJFreEls2O1q0bItOdm84Ktgav1J8x5LvgPG/Dd5KLY0HUtdVzzxdEUajUU4R4p74NuFyr4po0qQJBgwYIF4DBw6US6/MV199hZdffhnz58/HIvnQ7ZXg9XonazA8/fRT6N2792UP+Za5ypdfwXp+xXdd/p95zxQEzXoMyiBPmEwmscfN8QDpcEhsg8paDnbnlVx6tufxz+zVGPrw7SxkMvJH8HEX/Ji8jC20km2QpUzW8vBqhxBPPo1CBDUFC1x841j6vWLTyPL8yzo37jzNp3UeOuPzE0P2Etj7XO+51Mp0fUbpz+L4OVS+l1O6heHp6SmCiD29EGk3jULd9OGivPRGlS8HP6+pVLBlU6mhUuugyT2C7Zn10aUR3ztzLt+Fy8TL2W/KvpudjfPWWzFpjwGPd/RzlrH5usaxHwlKtZrHb/Z5LHzy78x+s+UnDbi3hSebE/8+bDL+W/HvxX4niZ9rZUGb/z7OJbg88V35Z7HPLb1jwfG/B36qICAgQOTPphfg7w3HUCvAA5n5Rvh5eeDtQR3Yfpgz6PLf18GW3RWW+bKf+83ZErFl458jvpOYQPwr/yoc+5eNV7CBQqmBRirE1iQletTVypOem971z6XW+3/Fl50r7zP438PNN98sfjN+Dr7M6ZRy8HnxndratWvLJYQQd1ESUHNzc0XgcG0cXHjT3JHL9prZZJLZBhVr9VjMFqSlpclTlMU34OkZmQipVVtstK+IwwaHQs02/HL+BsB/jyNHjog9pNKBhB+u4IeMbWdyoPDQsA27AspQb3G442JMhTnIKJLQqE4QCyhy4WUpkJGWirA6tVlQlIsqwGyToFNfmx+SB781a9agY8eOJUGFn9deGh6LVvUC0LJOoAigVcFuMSCnwIpaIf5X8JteO/z34MGRd5xw8uRJcR6+Itq1O3etAiHEPZQEVH6OkFd6UhY/fs5Ppl/ueH9Nx38nfhUcb7mTslytVK4iVzryHZTzd2wJITc+RVRUlMT3mvn5U6rEZfHfg7c477777gsOc5KyeBBYtWrVBefgibOVWr9+/ZKrowkh1ZOCtSxuwANlNxYKphXDgyohhNRUioKCguseUPlhMN5tHSGEEHI5/AJR3u2p65qNqnS5I7ell+GGCKj86mLe0TohhBByOTyIlb6vtSplZWXJqfLx01yuq/cveoyuoudTKzIdPxTI79XjexV8+vPfcy32MlxK98tLCCHkxnd+jOAxpLy4wcv4EU9+b3xFuC4AvFQcc413vUq/h794V70u5QZU3rvF5aKyC79x/VI3o/MPfO+99/Dzzz/js88+w6xZs0S/pZdyJjcFzy3+Hon56XLJOVsiNyE6pxDRccflEqfD2ee6CryU0gFVshcjv2J3MZRhLHD27WvJK//WoQqz5qPQeuEfRfK+st/tRpeZX4xEfmuV4EB82rl7cS1FWaJHRsmSDxMfmgthLtufhpCSliGnSmHrp9hWkfPXdhQaDTDxvgkvITYlV04RQtwFv3uAd/t3OTyY8n7eeXzh3X1eLqjy2LR+/XpxOxt/mAXPXw4Ppj/++GOZjmxKuyCg8kv8eYQPCQkpicDlcY3jzwrl77lYUJ0xYwa++OILEVSHDh2KDRs2XPbilfdX/4GfBryGt1b8Lpc4Re6bha7t+qGJlw5N6jq7oUrOioeJbXPHHE5ATI6zv9jCgjRkGq2ix57UnHP9q57PbklFdHoxm9YMc2oEJkSexqEtP+B0fhGyi004meF8r9mQgfhCtnFnZdzWtQfFcN3eaBiKi3HmNNtBsBciPqsAxfkFYlxxeh5yjWxPSb4vtajABGNhBk4mOINwcU4eClKjEWdwID0nH7mFJsSeOC7updw+YoqY5kQky4uUCcdPODtOj40+Dlc8+m3EkygqPvdHU5SeiNRcA3KL+a0ZdhFg4k4eh8Wcj74/zhfdHSScYnk2NBTnIz7mJIt4+YjLdD739gz7fFd3xHYW7E+cdu58nIxi5WxBjNmFiD0Zw363IsSlO7+XI/0I/NQmLJo2W+QTju0SfS0bjPJyOYpxMsuIM9vWYldkNs4e3gWNGshilcTC5mkzm5CXn48dew7wDHgHHZbiIuQUsL8ncwZSDXYUF+Qiv9jZ2XxudiZMbGHMbPnzipzrI33/WvjYU5Fldv5aNhNbp9l5croQuWwdWNmoeiG+7H3FyMk8F7wluwkZWc5Am5/D5s0mNLG/5cwM5w6lkc3TYr74vcWEkKrB77DgpwNHjhyJLVu2iDR/CMfF8KOgPCa1aNFCBFMeVHnXgxfDO+3nrUse73iA5H0xXA6/QJX3DXyx298uiGx8gXl3arz7Pd6XIu/b9/ygyvN8HH+5Ogfnz8Arb7pt27aVPKCb34u3YMGCyz58eVnUVjT9bSiWHd8mlzi16/Ik5i39HUfzbPh71VScOTIHfsEN4TCaWBBJR0DebiSzjemqDB8c3DENccfnwSfA+XSY8vCeg5JtCqxZPga6oHqoG9AQ9XwD0MjPGw/9MxEtQ+vj261HMXTpDjTQqJDFgiCQhyZ39mWtSwPqt++Dqb99jybN6uHt3w/g7PT34Wk4gFgWC0ZvDMessSOx58/Xkcha8TuSbRi/vQgtvZKwM9WIEZ8vga+vFlvnj4TKxw//+/J/aNqqDZ4f+g/Evg8LaK3atcFni/bhs+GT0aZVMLbNG4Mmrdvgyz+m8ynQpHk9eHtq2QafBSKW/2DxcQT6emHsH2ORsGYOCtP2IT2oDaD2g3/L9kjeOwv+Ldrglx++xapJH6Fh88Z4fvRhJEwZj7y4DTCEtQHvb577YsoBtGrshQk/f4eWbdvgq2c/xbpX30LTlo3wzoyjSFr5nphux+FEaPUO3HZ/f0Szv/X9iR7QSXbsXbGI1YiTKPRtgAMHzuCouilM8fsRG1+M4ytnITg0FKuWLELy/mXwZn/4CoUZy7eegNKShX1JNuiyIlhwd+602dUeOLlhKZKObIM2KASS1YRNp8woPLUd/ADD/oJgFhmdwZSFUKzYm4QQfzsOJOdi3aE0+FgTEVME/Ls+EuHLFyAwJBQz1zuPkhgLLQjV5yIxPwVHctXQsBoxf+ZKhIQGYHlEHPZtXMN2nOLEtISQa4c/W3np0qX44YcfMHz4cNF9oKvP8PLwI6uTJ0/G4sWLRUt1woQJFw18PDDy2MYDKe+fl986ylvCl8Mbg3xZLtYv9wUBlQc/foKV96PIO4hv2LDhBceqeZ6P4y8+Hb+/jt9nV950Q4YMwdGjR8WGkX8J/hidS/UmJLDZiHmdN7/C7BQ8P/g9TFkzH7xfe5vE9y5YQ8Zqg793fdFHsNnCRijtuGvAy6wlpYD3JVrxvPeeRr4eqBMYIj6L9/1qc3W3w9KsHQlPnRcmPfQwhk//lbVczDiyIxwtA3Q4u2stOtZVwuHNH5KrxYAWDdkeEXtPndvxx2+/45Ehd6Gjdy3E3vc3fp80Hne39hItH4fdDA+tCnXCQsVn1qsdjIR89r5iZ0BQt/JjwVGBvaN/FHkz24MymVjrzGpmLToLa3cCP771LHZviYapyNlq44+0U7JA8tsrd+Ged8fize6eWHukEP6BjXFrsAmjIgog5ZvY72USrdT/ff4VTD78flEl+rauD2+tHlKdrmjvlYvJR3MRlWd3HnEwF7M4JT+GjAV9KNjvBA16dW0FvfxwYGXLfvyHhMKrNmI3jMU993QW3Rz2va8v5m5OBf/z72DajCaNW6CZtwRTm/4wy4dmFQotHAod+N2ZEkub8lJ5IfuOEgrzCsE7etI4CrDrVC7skpWV2kQL2mqzit606t88AIqiVLTtfqv4LeWODdlOAWsds78JnVpiFcUOq4m1ZNn0zj8n+Tm/bA/2eFw2lqxax2sXDA4v9G7qjyXsd3VOx9aTh46tCw1rrfNfnRByrT3//PPicO+mTZtEn76XwjvfefXVV0UvY7xh+Morr8hjLsSfkMXxrnZ5S5UHXt6FKn9dCo9h48aNu2iPZ+Ve5csfI8WbvxXpT5T36cuD8EWPKbOIzvcUDh06JL7wa6+9hpYtW8pjnXgvTX37slafzMSCB18oHgv1mlKPN2NBLsdoQICnL/sBbFCr1CgyFsBDz/Jso65VsqCoUMJqMcDoUMKXHwJQll0u/oi2bt26yTmJxQL2KQ4b+LNGi0yF8Nb7oMDmwKPzV2P2g30R4OENAyvX6rzZhl/C8i0n8cAdrbF09ykM7tFCHDLgOxSiH2O20Veqtfj5zbfxybixbP429g42rtgEtaceNosRBrat9/P2gI1tpPlj3BwsqJnMNnz440SM/OAJePv6w2a2QK1TIyevGD6+nqzV5GBpEwL9vZGXk812HPxZ8JCgYe83mCV46Z0dBhTkZcPLNwiqwr04rLqVBXQgm7WqgwIDYCnKg8bbH4W52VCx30+nYkvGltXGllvJflelWsmmLWDTss9nv6UKFuQbJPj76JHL/jj92Z6hw2yFSqcR45VsZyZh9yo06j245HfkXU3yBwLY2B+dGiZsjjbijrZBLEDxvpX5vhvfaXDuwxmLjdB5ekDB/pAV7G/HxobiOQPFGTiZ64PGtT2gZXtNDhZgbSb+GDYd+xtTwswCvUbvwf4ULODPOti/Ygl6PzJMREujCJxq9jfD/oZY5PWQH+VWnH4YRcEdESh+bbbs4vP4Xxj/ng62o8L+djRsiY0m8Te6ZM5G3PNgL+jYjiXv7lHBf5+L/H0TQqrOkiVL0KVLF/EEJn79DY8fLrxFWvqoKD/My7fFPJjyp2Px62VCQ0PZpuGCECfexzu650+LcrU2+ZAfLj5/+tKHmXk840/d+uOPP0qCKm8Nuzq0uehtM/wDy1uQ81VkOj4N/1C+F1BeZD8/oFYlfni6It3jncktQJOAK++KsSAlBrpazVnAkgsqKCktS7RWK0P40XjcelNDOXd9pCYlI6zeVTz/0GGF2aGutH6IUxPj2V5ZAMJCKr4u83ML4RdQsafDEEKuj/MDKsdjketiJL5zfKlOeXgjsHTs4unyYtn55235udrSFzxVKKBeS7z1etttt8k5Qggh5OL4kcFr9ahDfnj4Uo1GftiYB1nuhgiofC8jMjLykgtNCCGEcPyCJX79zo0WMxQGg4GiGCGEEPIfKSLrfE4BlRBCCKkA7SPtoHuvp5wrq+R5qIQQQgi5NH5B0sVur3Hew0AIIYSQK3J+r38UUAkhhJArxO95XbRoUZlbaOiQLyGEEFJBrkO+/P5UHj55/wq8EySepoBKCCGEVNClzqFSQCWEEEIqiAdU/jCY0qGTpwMDAymgEkIIIRXFA+q+ffvEoV4Xnu7atav7BtS8D1fCFpcjOtB3FFsBrRIKtQqSmX1J9uUUns6uoLxf7gb9gBYiTQghhPwXlwqobnuVr3XdKZgWHYW2bgBCVr8Az+6NWf4YfN7uyfIvQmWRRN5+MlN+ByGEEFJ13Dag2o1W+LzcAz5j7nMWWJ1PFZDkYcDyZ+DRsS4U+fLzPAkhhJAq5LYBVZVrhu+4B+Rc+fzWvgBl1qUfGEsIIYRUBrcNqKacLCg0l37oqKqWD5BcIOcIIYSQquO2AbW+NFZOXRy/YEm/4FFnhhBCCKlCbhtQs/pPQvbdfyPr/mlySVm5t45HNpvG8P0WuaSs7O7jkXPHJJj3xssl5/CynH5s/j3GyyWEEFK+eO2HyOg1Hundx7FcLhL0w5HZawIStO85x9f7Wgw549QFSO44Fhk9/kDO3ESkKN5BOntvSt2PUZQIpPV4F+k9JiCj61iY4EC84g3Y2PsMy+YgN8LgnIksWfE2mwJIb/cuCk6YYZw0HTkxfBr+vldhc15OguSG7yGj9x9I6jbfWcDENRsthvlfj4ahyIZ4z8+Q0XMce82A9fQeJDX9naXHIqH1X3wqxKs+K/WdJMQ3+xE4tAoJN08R80nx/hRWNozXfC6mi/f4n7O82etsPuORcfNYFOzejoxuo5Dg9TUy+kwU46sbtw2oxi2nYVh7Epa9CXJJWdb9ySjaFAMpPlcuKcu0NxZFW07BkXvhOVZHlgGGzTEw7DktlxBCyEWE1ULwiucQvPQ5lpGg7NodITtfh889IeC9vCqUGjGZkxL6Px5H0JLnEDCsPstrEbjyRfh+1wYKNpnCDgQsfRFBK56HngVGVcNApL+3C1Cp2Hycc3Dx+7Q++zQ7rG16onjRaRRtOAK/5l4w71wJr8XDkDv5rJjOkaBB0KpXUHvm7Wx6J4+gWJE2zE+Dl7cDynZN2fI/i6CVwyCxQKyf+BxCd70NlTWSTaWAsnlzBC9/AdpuXuL9Cr6wDgXUYekoKuRTqMURQdzcUnz3uscGIX3WWSgcSgSuYN9nzfPw7XEbQvc8BkWzjgjd9oqYT3XjtgFV4bCzhWdr3nbuXqDSVPwPm4+3l3+brYL/sbKXVN772Xv4e8X7CSHkEhTFJphWHodpNd8BZ1uWHatYC/FNFBqas3B5Ifu2k2J6Wx5vewLmFVFQJEqskZDKNlxKmFdHifF86yP51oZH8XbYPS68XkT7RB9krzoD3RM9YN0YCdOBumybBuR9HIHgB2+H8ZdFYrr60kiYFu9HyoMLRJ7z/exO5MVnw+51C8uxbWROAVv+aJj2pLDArUDxnV+K76B862U2ni1JXgGMKyKhzLGwlqgInYwE7bvPIO/B+VCoXGVOyuA6kLLY7gSbl3kl+z6rT9SIranbBtR60m/iVSfnW7mkrCD7j+wP6Td4T3lYLimrjjQadaVR8LyvjVxyjscDbdk4Pv8xcgkhhJRP8veG51Od4fVcB56DsvcgNJTGQZ2+0zkBCyqlqR+7GV4vdIUmQM1yCvZelv+wNywHEkUDwePZTmK8kgc61lwMnPguCj87zictQ9uuBUxP/AnfvnXh4XEcyratWKkR5qMeyH1tMdTWBFjtNsQ3GQOvZ3tAaz8tDh9zHoO7oGjIdOi/781y7HPqBsLzmS7wuqcJ+0gJnmu/Yd9hLKzv8iDMwkStIDb+FugHN0DpGxElNsPg1/SwFsgLx3YIuLz3/4HXw03ZeAc8n2bf77nO7htsrkBN+I6EEFJl9IEKpHUYhdT2v7GcFtq2fqLcZ2AXmOyAroGXGJ/W5lco64TCOuRPlv8NmeOjoe1RHxl8XK/VqPMrC7JdWyKL59v+guICDbQdarM5ecB3QGOofTTIbD8cFldUhD90bRpDxT7O84Gu8P6uD+wno+Cz7EUE/PkQQhY+icJt+WiwsRfS2v0G/axvcO7gcxi0GiUCBvD5K6E15Dm/Q4ffofT2hcaXt3WV8HjEnw3V0CqyxHizXw94s7amrlMdwMsfGn8t9A/fD23nIBHvdaYcMZ004HH4NGDv69EC6fz7tPoZ5mI2Af99OgTyRLVUbfryzXvsXxTMPYTQP4dA/+qtcikhhFQfOY9OQeDcF+QcuR6qZdeDLsaFR5H30kIY5u7nZy+Q/do85L2z7KIXKxFCiLuiYHpjo6fNEEIIIRVUrVuohBBCyI2AAiohhBBSCSigEkIIIZWAAiohhBBSCSigEkIIIZWAAiohhBBSCSigEkIIIZWAAiohhBBSCRQvv/wydexACCGEVECvXr3QpEmTcjt2UAwaNIgCKiGEEFIBd911F26++WbqKYkQQgipKhRQCSGEkEpAAZUQQgipBBRQCSGEkEpAAZUQQgipBBRQCSGEkEpAAZUQQgipBBRQCSGEkEpAAZUQQgipBBRQCSGEkEpAAZUQQgipBBRQCSGEkEpAAZUQQgipBBRQCSGEkEpAAZUQQgipBBRQCSGEkEpAAZUQQgipBBRQCSGEkEpAAZUQQgipBKrmzZt/LacJIYQQcgnNmjVDWFgYJEmSSyDSdevWhcJkMp0rJYQQQshF2e12HDp0SAxdeLpr165QsMhKAZUQQgipAIvFgn379pUbUOkcKiGEEFIJKKASQgghlYACKiGEEFIJKKASQgghlYACKiGEEFIJKKASQgghlYACKiGEEFIJKKASQgghlYACKiGEEFIJKKASQgghlYACKiGEEFIJKKASQgghlYACKiGEEFIJKKASQgghlYACKiGEEFIJKKASQgghlYAeME4IKUMyWGDaGgszf+08C1tMFiSjFQpfPTRNg6Ht2RD6gS2h694ICr1afhchNcOlHjBOAZUQItjO5iDv7aUwropmUdXBShTy63x8k8FfSngMaY+A0Q9AVddPjHFnGRkZoM3hf+fl5QVvb285V/1QQCWEXJSjyILsB6fDtPEUy50LoBLsUCjUUHhroVArIVntcLDWKyRWDpU8FaOQ4PlIRwTOfBQKnXu2WI8fP466devKOfJfWK1WEVQ9PDzkkuqFAiohpFyWA0nIuP0vSIVmuUSCMtgbng/fBO83ukPVJBBKncYZZ9mWwm6ywhaZhqK/9sC4LApSnpGNcAZhpb8eIdtfh7Z9mMi7k927d6NVq1ZyjvwXKpWK7Ygp4OvrK5dUL5cKqHRREiE1VPHCo0jvPLokmCr99AiY+RjqZgxHwF8PQcMCo9JLB7DWKVTsxYYqbx103RoiaPqjqJc7AgETHobCSyve78gzIaPj7zCtPynyhNQ0FFAJqYGMG04h+5EZLOVsenoMbou6ud/C+6lbWFF5503L5/1ad9TN/Bq625qwnATJISFz4N8w701wTlANOEx5OHDgII6cybz0BlNR6jB4aez3TEzLlTNO/CfOK7Qh5fQxHDywHyaFRh5TPqWy/HWicFhQaObnu9k0DjMMVmf6YhQKCfmFFhRkF8glpDJRQCWkmnLkG1E8/wiyH5qBjF7jkXnXJOR9uBLmPfHIumcKm4JXfwm+/+uP4CXPOrfyV0HhoUHottfg+XxXlpPE/xm3TYA9u9g5gZsrit2EW3r1R48GEhYcShO/k16vE7siarXznLFapcKZNQuhZa14nU4HZ/xTiDQUakxcupO9Ry8fHAcsxUnQB3niaEQs+vbpi5PLJ0GlUkKl0UGr4YFZIeahUCjhqbJjQ4yBxWs1dFrn0QCVWsOmU0NtysaRTAcr10BnTsXpHDObh1bk+XpQKVVsGZzvUbL38AMO4UfSkXxgL/Afz3erNewz2fc797r0TkFNQAGVkGpGKjAh58UFSAn6GtnD/kHxkkiYd8XBtD4Ghb9tQ0aPcYCNt2QkeD3bBX7fDXS+8T8KmjIU+rtbOzNWO7IGT3OmqwFjsQHFunqwJOxG7KGNmDtnFo4mmjByyjRodXpM3HQca7fuQWRsLCb/Mxt/bTuFtCMr8O+/c7D9dB5slgQs+OdvHEizsrkpELV8AnwcdjjsVhgMReh4zyMIz9Tjnzl/4y82T70yDztSVciODkd09DbsWLsFW+aMxIypY2FU6jDtt4mYPGYCJBY8925dj2+/+oYFWRWULMjOmzwJk8ePhNrHhjnT52DyTyPgUGsx9tvf8M/SpSxwAx06hyEj79w5wKuxb8lf6Na9J3r16oVePbvjla//kXckai4KqIRUI7bTWUiu+x0MU8Ih2Z1B09lUYVs6sbXjeSd1kyAETBsm5ypH8LJnoQz2EmnLzrMwbz8j0tUBb8Cr2c+3bNRynDmTiB0nz4hWIv9JlawV2r3TTWjTrBWMualoVb82Jh+zY+iQh9C3eQDU2oZ4cOhT2HIyU8zLYm2D0peDSihGoCEcsWfSkZuRgRSjVqwyBYt+YS37oMPtt6FNm87w9KgDpSEetzz3Bp5981UorWb06Hsn3n+sC8w8VksOaK15yMnMFHnvlj3x9LtPI1eTjVueehGP3Hs/C+ISVKylm2e2OD/8KnW6/2VM+vxJ0VK9dfBH+POLR+Eo9Z1qIgqohFQT9vRCpLb+BVIRv8hIAYWnRhzOrZP4BeoW/4C6+SMQuuct6O9rA6WvHqG73yw5BFlZFBoVgpc+wwKE8z7WnJcXOke4NQeioiKxf/0cdB80FN3uvxmDHrgTLQL8EZZvQOTR3eBHtzWqBCTH7MGtPe/GjpkbMKRWGqJOxGD8ykMwW6x8jcAiIo6EkFqJYv+mKCcZUcdPYMwva9GqcUd4NuuA9k0DEebtgYi9OxC+dYsIqklHj7N5paNVE2+cNQdj+79zsXXeRBRLaljYjpPEWrp8OdknIE3TCmGt6yK3yAIbP6cq2WG1BmHzzMU4fGArbGzPoLggG6Ge//G2FtbCbnnXS/hz1M/45b37YGWBuqaj22YIqQYkhwOpzX6G/WyOyGt7NETIhlegZEG1XPyQL796t4qktvsVtqh00TKuk/QFVLVv7FsoLnnbjFINT72W7bFYUcyafRJrh3h76VFsKIbExnnpVLCwgGmDirVgbdDoPWA1GcFjmScLWsbiYmi1ahZUbdCy38PCAo9kKUSi5I9mfjqxGszGYvB4pNZ6QqOwwsg+R+fhCQdrgdqsNui8PWEx2+GhVcFQbBSHmVUK1q41WaBmQztrIfMAx8vUOv4+k1h0vnG3sRkr+FLz87NKBwt8Duxauxo97x7I5l35m3+6bYYQ4tasx9Khru8HXd8m0N/VErW2vnbxYMpVYTDlfD+7g/3LNtZsY26YHO4sdFcOG4pZUOTBlFOwlqCBB1N5nMFoFkGKtxKtrAXKp+VD/v15mqd4MOV4MOUUWh809rDDYmLzZdPIxbBZikUw5XiQtdrskFhwMhmM7KMsIphyFrMJRpNZBErxXrYc/PN42szmyZeHv2zsxcv5JHYWnPm8bWyePe66p0qCaU1HAZWQakDbIQyh215H6JbXELL2RX78UR5zfXg+0I5FDefmxTDzIOwZRSJNzhGx7jop3boilYcCKnEbNpuzpVAefuZCtAbY0Gw2i8My5TGZ2J690VgyrQsvP7+svOl4PiYmBmfPnhXLUxqfzmAwlHnxeZzPNd/S+AbONf358zl/GThexpf5cng3cHwe57/fhX+HM2fO4PTp0xcsk+u957/On648vLtCVZiPSPMLpVJqfYP0dr/CGpkmym40/DAlqRz8cG9NRedQidvYsmULvvnmG2zYsAEaTdnDmelpaXjo4YexcOFCEQjeffddLF68WB7rxIPsgw8+iIED7sKCRQvF+ODgYBFs7r//fuTn52PJkiUICgoS0/Np+bilS5eK/LRp0zBz5kwxH77R4P2V/vzzz+jYsaMYz4PhPffcI97jqlZKpRL16tXDxIkT4enpKcoeeeQR8Vlr1qwp2ZA/9thjyMzMxNy5c8Xy8zzH58M/i/eL+vZbb+Pue+4Wwffuu+9GkyZN8Ndff4npLuadd97BkSNH8OKLL+LJJ5+US52OHj2Kjz/+GEVFReJztFotPvjgA9x7771i/OzZszF58mSRdn0fzs/PD8uXL5dzF5f10AwULzkG5+ZV3sgqFfD5qC/8f7rHmb9B8HXHfw+H4zo2G6sJfu60bdu2cq764fWf+vIlbm/z5s345Zdf8MMPP6BTp05yqdPcf+dgyrSpIuCFhYXh008/Rc+ePXHffffJUwA//fQTWrZsiebNm+OVV17Bt99+i379+okWLQ9QPJD9/vvv6Ny5sygbMGAABg4ciM8++wwrV6zEyF9GinH8ffHx8fjyyy9FYORBPCAgQLTceEDl8+fz41Xr0KFD2LFjhyj7+++/xXIMGTIEBQUFWL16tegYgAex/fv346cff0L3Ht2RmpqKYcOG4fbbb0eHDh1Eq3DB/AUoKCzAv//+i1q1aonlatq06SUDKg8O/fv3F8tRp04dESBdcnNyMfjBwWLnYdSoUWLngC9HXFwcpk6dimbNmuGff/4RAfXZZ58tc4EJD7ylf9eLYp/Lrzw2Lo1C4ZgdsJ3IYIU8sErwfKYLgqZX7i07hFwLlwqodMiXuA0eGHiAmDRpklxyzpKlS9CgQQM5BxFQR48eDbvN+Uefk5OD7du24YEHHkCjho1EC5cHOy4rK0sc+uQ92exnFYXLSE8XZfymdV5Zfh/9uwgqv/32m3g0Fd8D58GMj+MB1oUvY/369fHQQw/hYdZi/u677xAYGCgCFQ/Y5+M7AOHh4XjiiSdEMHXh8+EtXz6fp556Cn+zwMaXh7dgK3pI7Xj0cbFjwFucKSkpMBQZ5DHA9z98LwIu/y0bNWqEkJAQTPl7imhRjx07Vp7KuRw8ePPv4npVKJhybDn51b3er3ZHWPTHCJzJWt3iXlgFimdEsCC70zkdIdUEBVTiVvz9/VFYWFgmOPE8f/RW6cPAfLqHH3wIkyY7gy9v1Q7/+msRMDy9PEXw3BcRIcbxQ6K8hcZbnxs3bRJlBw4eFIdjeeBMYK1Rfr6SB7bSwSw0NFQcMuaP/roU/pmlhxyfD2+V8lYr/9yXX35ZHlM+Hz9fsTx5eXkVDqiz/5ktvuerrDXOA//uPbtFOU9HRkaKVitffheNViN2APgh6arg9dQtCN3yKkvxg2JK5L2/HPbsc0GeEHdHAZW4Fd5i6t27tzjf5bJq1SoMHTrsgvNfr7z2KpYtW4ZTp04hLS0Nt956qyjngY3fc5jNWq0cvweRn+fkh4h5cOYB5yALqDwY8fOF8QnOjt75YdDz8UO54kIn+XYGHuz44Vx+4RL/XN6K5Q+ufuThIWUufOE7BF988YUo+2XkSLm0rNLTr127tqTVyoeXY2et2cOHD+Omm26CF2tR8+/BDxdzvKXLl7lhw4YiXxpvkfPf14V/H37+dyRbRv7i54x5i/pq8U70fT/rx1LsOzgkFAxf7xxBSDVAAZW4FR5M+OFRfn7PhZ+LvKXzLRcEGh6QeOuMt/6+//57udSJnx/lh0P5OVAeeLp06YJePXqKQMNf/HBw7dq1xTx4AOLzLu+Bybxly9ns56745edXnnvuOTz//PMiiPFA/vKrr8hjnXjw54Gbz/cnFqTOx4M+P2TND3HzF0/zoMgvnqpIQOU7ATywP/rooyLPAzG/Mtlqcbbs+Tz4oeuK2LVrFzaxlrvrxc8f/xe+w++EQu88mmD456AYElIdUEAlbsUVCJKTk0VQ4hcC8UO951/163LXwIHiHOb5rbGb2t8kAmXs6VhxhScPsF4+3iKARh47BkNRkbjAiPPx8REttezsbJEvLSkpSQx5a5bjy8cvJtq2bZsIPs8+8yz27t2LuXPmivEufLpxf4wTrd5169aJc6yl8fH8kDK/iKpFixbiIiV+VbLr6SaXwy+U4tPyK6L5hVz8O7pa3vy78IDNzyufj98+Ex0dLeecy8F3Xvgy8tf69esxdOhQeezVUejU0PVpKtJSgRmOavJUGkIooBK3dN/99+F41HFs2rhRtAavVFidMPHIKX4elQdm3hrlQZkH3wULFsBiteKWm28R0zZu3FgEIH6VcWn8fQmsJcivlC0d0Pm0PDDz+T/73LOiZbt0mfPWGxc+rlXrVuIwKg9w/DYfHrxceJq3LsePH48JEybg9ddfv+hOw/n4e3mrkgdUfjib327Ez/Py/Lz588RVunwn4cSJE/I7zuG32XzyySdyzun8Q+mVQdeD7+Cw78uW1SH6HibE/VFAJW5pwJ0DMGfOHHE/5Pm30FQED3j8gpw58+aKq3ddLczmzZpj/4EDIvjUb1BflPGWYu1atbF161ZxLtaFH2rmt7TwK18vhgdXfliYH34tHTA5nucB/JWXXhatxQXz58tjnM6f/nw8EJenIL9AXLzEr+7l55dXrlwpXnyngR/e5udv72Pj+LLzVqfL0SNHxTlkfli5NP4dKpsiyHlPrnA9uwwipBJRQCVuiQc5flsIb0m6zmNeKR6IedAqfTi4W/duoozfV+oKstwf4/4QQfjxxx/HiBEjxD2b/FAqv0WGl10Knw9v5V2spffk00+J21YmTZ5coV6IXHgL88477yx58XOt4tYatpPAPf7oYyWHd/lr8AODRTCNPX0azz3/vGhZ86uf//e//4mre996+y3Rcn366afF+zn+fn7OuvTnVPQ87qXYol33pLJ/5fOphLg7CqjEbfCWJA88HN/Q896EXnrpJZHn+P2U5x8W5YGkvKtzuUGDBomrfXnnDi639+krzln27dtXLnHirbt58+ahTZs22L59uzjPyO9pnTFjRklLkX9W69atxe0opfHzszxoF+TnizxfHv4ZpVuYvNMJ3vPRn3/+KQ4H8/nwoF4e/j5+bpW/eOcOrhefL18Gfl6XdwgRUitUfofTgLsGiO/LW6m8Bc7Pyfbp00fcvsO/08033ywOd/NDwhwPuHx6Pt/Sn8OX878ybYgRQ4WGBfuA//gYMUJuENRTEiHkmrKdzUZqkx9ZSiEech4W+6lzBCFugHpKIqQasJ3MhCUiQbxsiXlyqXuRbA5kDZrKUs7Wud8PA8WQkOqAAiohbsIWn4u0W39H+q1jkNb0R1hjsuQxbsIhIfvB6bBGp4ssb516DnM+WICQ6oACKiFuQj+gBTzubc9SCkhWB9LajETRX3tEoLrRWY6kILXZTzCu5N008taphNBtr4lxhFQXdA6VEHfCgmd6z3Gw7OW9FclXyXppxX2d6tahkAwWWMIT4cgsQsi+d6Cp7y+muVbsKQXIfXkhNO1rAwEesB9Lg2nbGdgTc9lY+SIsjRK1dr0JbRfnbUmEuBN6fBsh1QmrsblvLUXRhN38ZlW58EIKrRoh618s6ZWoqtmT85Ha9ldI+Rd78LkEbbswBK97Cao65x4HR4g7oYuSCKlOWEMvYNxg1En7Eh6PdYDS13W/LA+u7CUekcZSFhsy+k5AzjvLeGfDouxq2FMLkNF7PHJeWQQ7a/meTzJZUTBmB1Iafl8qmMrLwl68q0HtrQ0Qsvk11Dr2AQVTUm1RC5UQd8eqsFRkhj3DAIWHGspAL2QNnQXTiig20nm+UuGjh9/IQfB+ujMUnhXrSMGeVYT8z9bAMDUCEH1SODcVqrr+0LQJYYFSA1tcDmwnMiGJgO38LE2bWghe9hybAf9cLZShPlCoad+dVA90yJeQGqho0l7kvr6E1fZzPTSJ1mLPRvB65hZoujWAmgVfaJyPiZOMVhaUi8SFQ8XT98N2OlsEayfXUD4PegE2XqGAzzu94TfqvjKdVhBSnVBAJaSGchSYkP3kHJhXRUMqczUwTyugUClYSg5+fLzkCr6ugChByVq3Xm/3hLqOHwr/3AP72RxIxVY2ik3PArSqlg88BjSH34/3QBl8dd1AEuIuKKASUsM5sgzIH7ERxbMOwpHLz4O6Aub5LUnX5kABdfNg+Lx/G7xf6gawwFuCbTIki10c5lV4aKGQz9kSUhNQQCWElOAdRFj2JcKy4ywsh1NYgC1mLVUlVPX8oW5XC7o7mkHXrSFrmerkdxBCXCigEkIIIZXgUgGVLr0jhBBCKgEFVEIIIaQSUEAlhBBCKgEFVEIIIaQSUEAlhBBCKgEFVOJWTHnpohe8jIyKPwvUYSqA6SquZZccRhRZJBRlp5XcnXk55oJs2MqZOC3Z+QzQi8lKS5VTl2cryoZVTl8pyVqEYpucuSgJMSdP4lTMGZyOOYWTJ2Ll8nOMuc71cL709Bw5RUjNQwGVuJXEPcthYcNVyzc4C66GNQ3h6ZcPSQ5LHI5n2HFy20Kcu0D+0jZuXoeVB1Lk3DmLZy+RU5c2ZWWknLq4vBNbkS+nS5s9dZ6cujhH7nGcLu/NZSjQvGVLNPBJhSOsBVq2uvBpNfG7lsIsp0tbvmy7nCKk5qGAStySQqHCpuWLsSrirMhHRuzBsY1LkC+28mZEpTqfepJwaAek4kwYWKsxeu8OHNu1DmsWrMD+NUthNKYgtcjZnNyy45gYZpyIwPx5S8ptkUrGJCxYsABGeWT40QTMm7vKmZGZ6/SHtG+lnCtAfHoWlm88BpVCjYh187FuxxF5HDCfzWtntLOlHR9zEifYzkLKyZ3IZYu+c818LNkYLsYd37Mdx/euxbyVW0W+hC0f8+bPx7HEXKSdPoATSWwHIDmHzXchFi1ajLWbz30WLNlsWeciy3Suyq9cPA9bIpNF+tDu3dizdhkKS39xmx1SqT2JHRuWYf76fXJOZs/FgvnzkGEo2+w9tH4N+BpIPrGH/Z4LS4JveHQKls6fg/QiB7Ytm48dR5yfT0h1QAGVuCVDYjz63f8Q2hZuFS3WxEOr0ar/g/ATnfvosGelM6htjDbAlpeMAhYo4vdtQ+Oed+Huu7uh670PAqZU5MjR8XAkC8wsHyk1x9BhD2LClFVlKoeahdhxK9PwyCOPYN3UP0XZqn9XY9ijg0SaM55cj0FdQ9Gzb2Nki/hixJrd8bi/f3tYrAnoetdQ3NXJD+vPFuHfMb9iKJtXa/UxZLLG8qmjB9Gq+30Ibtkb3rZoeHQaisFd6yC+2IGzhyLQuNtADLv3VkzbfEZ8Fu/sb9O6gxg2dCiSN09D7Wa3wDeoPtrUDWTzHYIuDdXo0ruDmJYbNXUrW9ZH4UiIhpJ9sZUTR+Heh4ahT0gS4tmyntyyFp0HPgCfi/QimLDzH7Tt/wCGDmiFFZGFokzNXr9N3oFHhg5D7MpJooyL2rYMLfrfDb3pFI45WrPfcwj++XWcGLdp+14MHvoYFo37Bn0eGIqAlDXltnQJcUcUUIlb8qhbVwz9AwNEQLXr6qP0Q8m6NWKl9ny06tYdDrkzMIWXH7x5gmUdpR5HJigUsGTF4vjOJfj7779ht2WJjuNdHFYDCpMixLiUIqt4Z4POtzhHypZtPYR/pvyNFbtiseVQIiuR0PrmTmKcSl1PDOFdG/EnM5BlLBLzWrL1JJILXc8QZQvFllXj3Rot9XH4c+pq1PJUQqnVwEOM90B+1MGSSmtM24mE9HzYbM7lLOnzzJaJPYZWCCr1g4S2ci5HrVs6i2VPSC7CFLasU5cfRkJsHlTBYWV+v/MlxMVj6dQpbJnnoSjuhAjofD5F+WfF9ziaaROHoQtSkhETmwwvtpAFsbHo1safvx1t6jmXMbS28/Cx3iPAOfTSwFLeyVhC3BAFVOKWSh4P5ooi5z0urN1tvbElYh+6NvGTS0rRe0CpkKBVB6HIYGQFhbBYWD6kFZp3ewAvvvgiQlmAKf10FqXGG351Oohx7RqEiICiEP+6WGBvfh9eeOFFvPDiq0jfsVyUupbTZosXQyk3ES3a1UadQH8xr2EDu6Gep+sB4SrR0bzNeBbJ1np4/d2HseJAARwWi/OcqSMfgR27iYuB+FxPObqgQS0/nIxzHjb1lD/rrynrMKxPC5F2yYiKEMP4vbvFe1s29sPzbFmfe7gP6oT5l/km5WncqiXuf/oFtsyPI6RBg5JdEX/f+uJ79GodBv5L+9api8HPv4jxi3bDt0UrRJxwtmYPJzo3Ned3pH/uFybE/am+ZuQ0ITc8pZq11gJqQadWI7RWCC9gLbogaDVqBIbWlqdi1H7ISCtEg7q12UZcBbWHHzzZNAG16gCaQETv2IhGbTuj4OROxBd6omm9INSpVw/BLJht23sI999/FwsySqhUnvD11MIzKAxdW3piw6Yd6DJoMHQsLmjUStQKEm1eWPMT0LhZC+idjxZFs1oa6APqQa3QwFcH6PwaITM2AmcMAejVsjba3NIN69etg9GzBZrV9oKafa+QsDqQUo7At/4tbLm24eDJItzfsylijx6El9aGiJP5ePi2Vuz7OL9zh3p27NgfjcceuAPxJl+0DcxDsg3QOqyIZa3DuJQsNGnobBl3v6UB1q7bjEa39oe37v/s3Qd8FGX+BvBne3ovJCH03nuXqoAiINaz996986+nd7az945dAUEEASnSkd5rSEILENJ7r9v/72+y0YCAiEEDPF8+S3ant92ZZ953ZrzRqXc/rF2xGJm6Jmo4/jCoZRPWKErr9hc6PYyWQHgbZUfZAfu3rsLuQxUY2beVSu9qPYQ0woDesWo+fkbzARfDz2xQy8SAyEYR6BhQDFtgW7U8D2Dtxt248uZr1OGCWi2yzEJ81fhMiIyOhl7Ni3dgxFEPsyFqyOS+vZmZmepY/tfDQXkfExPDm+MTNXTzJ76Jsff+y/OJiP5OvDk+0VmMO1OiswN3qERERPWAO1QiIqJ6wB0qERFRPeAOlYiIqB5wh0pERFQPuEMlIiKqB9yhEhER1QPuUImIiOoBd6hERET1gDtUIiKiesAdKhERUT3gDpWIiKgecIdK57w9y2filVdfxQtvfuBpAsxYm+R5B0xduMvzrsb6TatQnZWESs9nsXDyZM+7GmU5+zzvTt+2uCzt7/41a7S/J5O1axGfHUrUwHGHSue8pFwj/v3kk3jmXw96mgDZ+TUP5XblrkT11mTtfa2B/YaiJCcN1Z7PQBW823ZCnueTqCpO87w7Pa6qVDTqVPP80fT4eO3vyUR1u/h3HwJORH8v7lDpnGcqiMPDjzyCf/3nf54mQJtmIUgtBhbHBcOtc2P/ziVwWIvww9w9+PTLd+Ft+nX3lbZlI4b07YGElXvhzlyDzSk5mLkqQbWpxHs/LEZJyhYczq/G+1PnYuPkKSjLS0JCViHeW5yIGT/OQGXWFhwpcmDalEk1A1Q2fr8UjT0PI69r1gf/Rll+Oj6avR2bp76P7IIsPPyvb7Bn1nNqdMn4ZMZOLJr4uOqyCJPnLsa6aW9q/S2Oy8aauVMA+xF8vmwvvvv8CWTnZuKjmduw5NOpqLDl4se4fK1bIjozuEOlc54jpDPee/ddvPnifxG/bR0OpFXC7t8Oa/clITjQH26X6uZIMtbF7UWpvRgmo9HTZ42tm3dh/eo1iFu8DZvnHEDfppG4anhn1caJnheMRsKOTchO2obu0UHof+N4rFw8Hy69N8ZGF2BNYgH2bVqB3L0bERPbvmaASpJPF8+7o/2sGw3/sMYocWYjqagIjUKjYIz2ht5ogkTU/sM6YOjIoVq3rfsMR+eBF6r8DMRtX4+czCotVffv1x7RUf3QKCIapkAj4vL3YcemfYi22LX+iOjM4A6Vznm6oiS88+47eO2dj9C51yC0ifWB02FDn7yF6NmnpXrvhNVUjvitqUhN2ASXlFa6a0ssncjpfxsuGDIYt98WhF73X4H/vPoa5q8/qNq54VQ744EX/wOr167Dlgpv7Fi3AIdzK2CtcGDmwg0IswI9xt6FVes2YV91zUnkyvREjLiij/ZeWMv349133sZrk+fj0Z5qWt94E4O6DsToAQPw4nsTUVLphtvpUF264ZLpcjq1/mTcbnfN+6L9++GqciE5p1J1o5qreRJWNc4rB/bGlm2rERoerjUjojND51Y874noL7Dszf/gon+96Pl0Ytt+nIYCX28Umrrg2qEtPU2J6O9ks9mwdetWdVxbc9Aq5H2fPn24QyUiIjpVJ9uh8pQvERFRPeAOlYiIqB7wlC+d8woKCnD48GHPJzpT/P390a5dO88nonMTy1DpvLZ37160b//rJSt0ZtjtdphMJs8nonMTy1DpvKbT8R5DfwXjMdfvEp1vuEMlIiKqB9yhEhER1QPuUImIiOoBd6hERET1gDtUIiKiesAdKhERUT3gDpWIiKgecIdKRERUD7hDJSIiqgfcodI5r9rzYG86s9LT0z3viM5PvJcvnReys7M97+hMCQkJgdls9nwiOjfx5vhERET1gDfHJzqvlWNtkeftCbmwIKnK856ITgd3qETngbrP23l0zi7cvLzm+bAPzd+N17bsR4HaoeZVAo+vS8LIOfHYW+7E3OX7cffMBKwocCJpz34M/iEBFaqfKYv3YMyMeOSkpKHH7ERtOM8vSMA/V/O0Op3fuEMlOo+UJR/EGxO6YVLvYGzJyMZtQ7vgieaBqIQbZTYXcrIrsHRCZzy2LRsFpRX49KpOSNyWjhZNIhBsMeC9pDLkq73qT1e3wzpbINZ1D0BmWjo2us04nJ8Fh2c8ROcj7lCJzgMGzzfdLzwUcwtt2HK4AJ3CQxCXVY7UnFL1Q6BTu1TF4Mmy8gxZd01PFp0e/7ckCz8OCkeo+mzSni/rVsPUqc51CA70x+N9muM/EUbwiah0PmOlJKLzQKXdCZf66200wOmS93p46d1ILHciOD0FujatEKn2n/JzIDtKp/oru0292mG6PO8r1ADMakdqVM30qhv55dDp5OdDB7vDqfa/ephVc6JzGSslEZ3nfEwG+KmXBFCzwQAveaOSp6/ThqrGTRFlkJ2nJNmaHaIkT9mZCvmrUy8/1Y9ZRV3ZmYqa1jXvTWpHzZ0pne+4QyU6jzUL8kVLf5PnExH9GdyhEtGfNnFHKr44UOz5RHR+4g6ViP6csjKMbd8Yt1iKtMtqiM5X3KESneNWr03Q/l6zNAX/WbYX8WkZ2O8Cbvh2O1JKbHhwYyamzN2BQifwxaoMrEpIRVFhKX48UoovNubjq4VxWJOUjEKHSqKbM7Fs5z7AYcOt8w9g8qp4OPz90dhbjycTKuCrjYno/MQdKp3zEhZPw/MvvIDZ27I8Tc4vQwY0xuHiYrwwJBK5FWasLNAjrciGjPAQNCpIxzv9ozG6ZzD0VicWuhzY7TSj3NcXJQXZKPEz4eoBzbA+2QqDvQj7nAbs1QfB5nCiZ6co3NQpHJVqR2wvr8YDozp5xkh0fuIOlc55hwq98Owzz2CQfxLsnmZ/xpKfv/e8O0sYgvDEtP1oa/FCZ99KVFcUo3OoWaVMFywtWuDmBfsxc0cxnBYDBleUITO3BMFVBUhx+SM+Jx9LtqXB7WNGli4A4cWFKMrPh9lsgEuumNH+UztUV1HtW6LzFq9DpXPe/K++QKMu3bBl9iLc/+KdyHCGYsNXr2Fwr5YI7jgG84+YkJ+ZjnZ5PyHcFIQOl0/A6y9vxD1js1GWbYOp17X44PXJeO7WKKyt6IuCwwtxxRV3eoZ+tqvAhzsrkHo4Da9f0dPTjIhOhNeh0nnN5R2O3r164f6X/wt3aS42r4hDudOAyJ5XYfPiL+CoqMDYiHIs25SODuOHYteGRIwfY8OCuA6YfsCIiGB/XHdZIAwmMwZ1j4G//7lUUuiLB7pHcGdKVA+4Q6Vzntth87yT2xD4YduOZXDYq5FzcD3W77XCpHNi6g8/wR4cDBia4YtZ69C2SRf49ozFw9f0xEuvvII1Gd1QZa25U20jdxW2ZfHJLER0NJ7yJSIiOkU85UtERHSGcYdKRERUD7hDJSIiqgcsQ6VzXl5eHlJTUz2f6Ezx8fFB+/btPZ+Izk0nK0PlDpXOeXv37uUP/V/AbrfDZOKTa+jcxkpJdF6TZ3nSmWc0Gj3viM5P3KESERHVA+5QiYiI6gF3qERERPWAO1QiIqJ6wB0qERFRPeAOlYiIqB5wh0pERFQPuEMlIiKqB9yhEhER1QPuUOmcV11d7XlHZxLvl0znO97Ll84LcoN8OrOCg4N5+0E65/Hm+ERERPWAN8cnavDcWJCp/lit+CipvKbRn+LG0my75/0ZVlWC2ak27NmaCJenEdH5iDtUogbCYpD/LLCVObB6414Mn74LVarR6/PjcffSFNiyczFgRjzS7U4syHFj4eo4rb/p2/MxZ00CLp6ToH2esi4J189JxAOrk7TPM9fu1f6+s/gQ9u49hOEzdmmf31h5GC/uLsWdajxfr81EngP4fHkCblx0WLW1Yex3uzHvUAV2xO/DRbPjtX6mrUrA1QsOAC4bPll3AL2/U9PgHYjLm5iRadPzB4XOa9z+iRoEHVanFuCHQ0V4tEcQejcJhre/AduqnHDp1M7voqaodrpwaZtoNDYZULY/E1UuEw5llyG4kQ6m1h2xaEJbzDhUhpRyb0yd0BrvDGytDfmqToGohhV9+kbh8S0V8PX2wj07i7Cwyo3Hg/Lx4T+64eKm1bBXlmBymQmV1nKkWx0I9PbFJS191c5Th+cvagc4SvFhoQlOpxWHy+yoiorC1hERKHWqPFxVjbBObbXxEZ2vuEMlahDcGBATiitbBmuf3om3Ymonf/UNdWB8/zaoTEhCnBV4qlswXlxTgCjfMkT07oCJOw5jlOpv2+FcOEuKEBtugdnztS6r9lSPCI7GE9/tQ69gH0QF+GD+mFhcGOOnhq2DJSIM03Orse9IEXws/riudSO828Yb+iobPrusJW6fuRMGn3AMMNowM0ePCU3D8GkXP4RajDDKaDyPmnXo7Wjmz58TOr+xUhJRQ6S+lg632lvp1NdTvXfp9DCrj5JSvQx1dlzy7VXN5WtsV+/NaidZy+FyqZ1eTbeezjRWpxsWg+eT24bkKgMy9iSiW88u8FVdqtaqPx1salxGNS71IwGbS/rRa+NxqPamOuMhOp+wUhLR2Uan0xKgUftbszMVR+1Mhae5TnVXd2cqanemom6bX3amQmeGt82Kph07wk81luHIzlSY1bhkCNJMdqZC3nNnSnR8x3w7ieh80yjIB7HeUiOKiP4M7lCJiIjqAXeoRERE9YA7VCIionrAWr5E9SD17aUo2XLI86nhMfp5of0Xt3o+EdHp4r18ic6g4s2HUNbvY+ga8AkfqZebPzQSXVf+q6YBEZ0WXjZDdAY5K23qi2TQrvVsqC+5x64tt0T9T0RnCneoRERE9YA7VKK/iBvR8LsqxvPp1LiDAuDbPsjzyYGA+zp43hNRQ8MdKtFfwg2/54bCeMdQ9U7+2dXLpl7Spva9S/tb07V8dgDe3rBE+aj3dtXWCq9h0aqts053Dk+3RPR34w6V6C8gO0vfXtkoe78YBkMVwpNfgt6vFcLf6YawuFfh1TUQMatvhte4W2FsrkfYvZ3hdcet0FmcgN2J6B2PwevCvtBVVSBkwx3Q6dsj8DofRGU+C0NoNwTd3cIzJiI60zp06IDOnTv/8urWrZtWMYk7VKK/gM7iD9uawzAWpiPoNpUyHcVwlR8EggOBsmJUxVXCsS0Z9kMbYIweDoeXHbq0TeoLaoLb2wvOqatgXb4dLmcwvAJz4DVCB+suC9w52XAW7IE+LMAzJiI60wwGw29egjtUor+A9wfXovT1g7Bu3AbTXf+A22CsaSF3wDfV3GxeJ+/1OrjyN8B83YXwf2gonJVqx2qvhn3YxQibfgP0XhUoXNII3leMgrskQ+5gr/Ur/RHR34vXoRL9SQUr96J6+NdaCeiJyYUrNcevcvpXyHWr8r5mVyjv3Z73OvVOrnHTaf/kr/RfM/SaJjX9yaU68re235q+TyS7gxd6J/7P84mITodch1pdXe35dDQmVKK/xK9fNdkB1t4EouZv7fvanaf8b/C0q91J1vRT2420F78O5+Q7UyI682q+jURERPSncIdK9CcZfMxwwallxIb6ki+6OSJQ/U9EZwrLUInqAW+OT3R+OFkZKneoREREp4iVkoiIiM4w7lCJiIjqAXeoRERE9YA7VCIionrAHSoREVE94A6ViIioHnCHSkREVA+4QyUiIqoH3KESERHVA+5QiYiI6gF3qERERPWAO1QiIqJ6wB0qERFRPeAOlYiIqB5wh0pERFQPuEMlIiKqB9yhEhER1QPuUImIiOoBd6hERET1gDtUIiKiesAdKhER0R+k0+l+edXSuRXPeyIiIjoJm82G6upqTJs2DcuXL4fFYsEXX3wBu93OHSoREdGpqt2h6vV6bUd63333aZ8Fd6hERESnqHaHejzcoRKdIqvVioqKCs+nc4fZbIafn5/nExGdTL3uULOyspCZmQl/f38t8tL5TTYu2dG0bdsWPj4+nqZHy87OxuHDh9GmTRv4+vqCx3DnL6nAUVZWhgMHDmjbTHh4uKfN0crLy7VuvL29YTKZPE3pfOVyubTtJjY2FhEREZ6mRER0PsjJycGGDRtgNBo9TX5Lji3rVhI9ltPpxODBgxESEuJpQg3ZHwqoBQUFSElJ0c4OnWwjoPOLfOmrqqrQqVOn34SJwsJC7Nu3D+3atdPOLDKckvx2yEmNvXv3onPnzggMDPS0qSHtEhMTtRMeBoPB05TOd/LbISG1ZcuWCAoK8jQlIqJz3ckCquwb5IS3vBISErQCkeNlFAbUs8spB9SSkhIkJSX95mCySdOm0FfY4cyvUGvfBbfDBZ2X2oDUUN3VDujM6gDToIMxMgBWowsZaekMt+cgh8OhXYXVvn37X0JqaWkp4uLi0KFDB+1KrdpNzVsFD51sM+klcKttBrKd+Kh+9Dq4K2yAyQCdeukj/aAL8UZl+blXDeh8J78BUq1DQmr37t1/qRJVG1y9vLyOG06lP7WVoMLqwOIdR5BVVI4hnWLRPiYERoMeLp4AOafVhlSpjSG1eOqSE6jSrj7IdhYaGsqqekREDcDJAqocezZq1Ahdu3bF9u3btX3B8bo7FwOqHHvv379fKySqzVayn4yMjNRqHJ1pUrspOTlZO3F8rPz8fG1aTlRT7vcYnlM8709IdvoHDx7UDgiODZdhERGwzUpA2Usr4Hd1d5gaB6Hk7tlwxGcj4Na+cGeXo/j2mfBqHwl96zCUFBT9Mgz566gowN6de2GJaQIfvQq4WptTp1MHpRVZh3EgOQ+BUZEwuVXg+UN0MOjdyDu4AwvmzsHPm5Pg8AtH4/Ag6P/w1NSlhmt2I2PtUnw3/Ues3roZmzZsRMJ+Pdr0aAIvz4G0Tm9Ezp5ZSHe3QISf6dcx6vTQ24oQvzcBDp9oBHnJRudpd5pkebtsFcjPzUF5hRUGkwUmo1TTlgH/9qSBbFjST931VdvsWBImZEOVElM5sKusrER8fLx2ICnVNKW/WhYVPmwL9yHvwk/hd30PWPrEouDqb1H+4XoEPjcSersLuf0+gMHXDK9BLbRqxL9S02AvwoaZC4C2XRFiPNVtRgejyYl9K9dhd4oezduGQOf8AwtUrQ93dRKmP/MhqjsNRfNA9WPnVsPUl2Pxpy/gQEA/dIwwq2Y1nRsNLuzfvBbbD+rRWm375tK9eHPaOoQ2bYVGAd5I2/QF1pY0RnsVwo+3XmW7sBfuwYbNC+AV1R+BJsdx51NvtCB1w+vYbW2HFmF/f/Vp2Qak6r+8ZFpqtwtx7HYjJzIkAEhV3rCwMK29vJcdy7El8XrVLj4lD9+v3YeIIB8Y1Od9GUUI9PXC1oO5WLsvC3syi9QOSP0YBnhpYfVXOugNTuxZOglTflyBuIOFCGvZCmG+NhxYug0V4ZEItqjp1Lr8s2RcVdi3eDtsMdEINEucVr8Fumoc2v4zZs74CQcrvdGqeRRKDu1FUooTkU0CoXed6nqT35VqJM3bi+qIIATIiZ2/d5X/abXbbO0lI/L3RNuMfJZtQw5WZH8ktTJqHTlyRDtQEdL/n3nJgUxRUZE2fDlZQkREfx+5XjktLe2oSwvldzomJgbDhg1DkyZNtN/rpk2bonXr1iguLtayS93uZV8j7eWY9Fzw2Wef4ZFHHsFXX32FvLw8bNy4EatXr9ZO+ku0u+aaazxdnjmyT5b97j333qct3w4d2mvTcuddd8HHxxe9evXydPnH/W5AlaAhJadS3a7uiq4VrMIISqrhPbotTO0j4C63oWpOAnTeasc+sg0M0QEwNguGIVwdiId7o6Sw+JeDDp0angTUg4lHENy2Hfx1Trh1BjWMDKxbuhSb92XAK6wxwv294VDNNq5YioT8KthTqmEM94eP2aANozLrCI5kV6BRbDjyj2xCakoW1m/aA3O46ldCn+cATsarvWo+anRuK7Yu/B6VrUdi9AX90LtPDzTzzsC0RQfRIsaCtNxs5B3YjTWb98MU0Rhhgd6wFqZg3cpl2J1lR2R0Ixiqc7B/fwYO792A+ORqRDeJgUWFbZdTh4AmbdC3bxcYXYVoPuwWXDUsFiUqDC9dvhnZdh/ENg5Hwd65yPXphRahBhzZvQ6rVu1CpW8kon0d2HswCd4RbeDM2o3USl9EBBuRvH0llq7ajkKXL2JU/868A9iXU4SUbZuRiWD4VRzEhu37oQ9shGA5gJWDZp0DOerLXQl/NGoUpl0LqoXTXxdOzV8PWddyEDh//nztSy4/BAsXLtRKuKKjo4+7LUiwkA1VrlNOT0/XfggCAgJ+OQCtZbZYgKIqeF3YGl5qu3FXOVA5aRtcxVXwu70PDDGBsPSOhc7PC6Z2EUcHVBUUYS/G1nkrEDBgKKJMajnrTdBXpGHu159j6pLNQGQrtGwUCndFChZ+OxFzdmfCmmyH0c8XBh8XLIFh8HakY9PGRGxeNR1r99jQpmNreKtQWTOlanmp+avZTmuXjx7O6lxse3ULtobnIDqqO2JDqrDkm5lItlWiMrglqtKz4a++D77eVuxdkqjWvQtLEjciqllHHFoXh4LEBdju0wEjIzLwyg8VGDeqB5xpW/HNR59h6d48xLRqj1BjMfbtnocNq+Owv7AIpbm7EdVmFNK3zUWmsRmMmXOwL6UU8ydPwvaSIHTt1BzZm97GQZ+R6OxTgB+mfITpi3bCFNVGbb+BqMhIwA/ffIoF6w6hWbd+CLUfxPeff4UfN2cjtl1rhHqr79vRq+e0yTKT643fffdd7TdDDuw//PBDbVuQkvXjndGUbqS5BFMJBBJo65a2C1kLNocT3y7fgZyiEnRr0QhNIgLhq9aXj9GFsX3boH+7RtielIXN+zPRONQPUSF+dUpTZQhWpO5IRY9b78fQiDys3+9C62b+qM7VwTu4Aj9//T5mbU2GMToGyC9AbkYi1m3YBbdfNCJDfVCakohVS1YgPqccETGNYa7OwwE1vuQDm5FS7gc/RwqWL92EqoBoRAcbUJEDBMQGqd8BCZRquWzbhO1pJoy95Qb0bx0JI5yoslUD3gEIDXBi7+plWLs7DU6THZkOH8SYy5C4JwMZyZuwJT4PEU2awsck86OHwaTCrvp9MnaMgi49B7nZKdi8dT0yrH5oHBkCtUa1uT4byDYjBx5L1e+9bDPyu/Tzzz9rl5I0btz4NycqhHwvpT/ZCQYHB/+yXUlglTO24ni/T3+UDFe2Sdn31Q3CRET01zpeQJX3cnwql5HVfcnxhJQoHrsfqM+AKvup9957DytXrtTu5177WrJkiVY4M2DAAE+XZ44E1KeffhqvvPIKxo0bhwkTJmg10OQ4XKo5X3311Z4uzywpaLj88glqeeu00lJZzp9+8okWVv+Mk+7FZSal6FhW5omuBZNDP1dWKQpu+R5FD82FzqvOAYVBh/xrvkXxY/PhKqmSrcnT4vh0BjOsKauxdF8hBoy/ETdePQbuuElYvWMzVu8+jM6jbsJVF7VHyc5k5FU4js5UUsJlL0fqoR3wbXshrhrVBlm7vkVahZdW2qJXB7MH10zDW6+/gjlr4mDXmWsCiNsGR5UR3l5GtVBVQHG5obd4IUCFHmdlLvYdzkJEt1G48cbByJ2/EXG71mHaxC+w/XA+jmxbipXrd6KwMAcH04GBY65G7ybVWLU6SaUwFZ7VZLnln1pZ8pLpOLL5B7w0eQWyctOxbe1SrE7MhV4dhJkt1dg6ZTKmz92M9II0rJmzCHvyVagqS8J338yHNbobujYzYMukpdB1HIGbb70OPSMqsGLSdhSVHVZhxgcXjL8E3gmrkebdEZcMa4uU3QdR4ZTyG7V4pGRAvdGrgy5d3eP2E5BSBDkzNWjQIK34Xr6MzZo1Q8+ePbUvfd0AUUuayQGlfEGkCoUcPMpwjsdVWKG2ja+Q1fZ1dST463YhVX3zRn2O7BHvwHGk0NP0xHRGi+puCT5fsgr97ngO77zyDBrveBXfzP8R0xb8iBZXv4j/PTAB9k2JSEpTIf5AAhIPFaMkZx+2HfDCzQ89j2HNCjDlu53atisll8aiRPzrvpsw7vansXR/iZonz7p02mGIGoh7hkdh3qwFWD5/CSqiBqFPCz3sxkboFRiHT3/aiwPLZmO3UYfoDiMwwWzFmqWLkXogHRf/9x303jINH323B0P7tUZx/ErMX+mNB159G6/cN1iF6dnYmHgYu3evRPOxd+Gqfi1QEL8Ad7/4HRr1m4C+TXxxePu3yAzojX++9CLGRKfg3S/UdHurgK53oaKoEAa3H7wK4vFPFXqXr1+BqV/m4sp/v4b//echtCpbhsvv/hdmro9H0uYZeGHiIpS6VRCvWZR/mqxrqVJy8803a6F04sSJ2jYkP5LHlqLXkn6k9FROZMiORbaf43UnHCrQ2asroRYtSsor8ePq7Zi9artan+nwMat1J9/no34UfqV91d12lBeXwukfDWPaIRSo0Jq+/hAqfaLRvdtAXDTyEgxvasG+BBVUo/rh+isH4ODWOGQVlqHcYYNehemiuE1YvHQHCstysD/FiX4jxyOqbDW2VbXE1VcNQ9WG5Ui125CxPhmlnu+e0+ZCZK8huPLKwfAq34d538/F3rQKlORn4khmBrZ9vxI+/cbghitHwq86GduzKqGz5iJhfxk6DbkCo/v4YfnieDiMNdthLb0K5wV7U5BbEYlxN16O8N3JKtTmAaaT/842JLL+JVgOHTpU298sXrxY29dINSwJhifaFiQ8yokM+a2RKk5CTnY0b95cO4l2ot+dP0LGLeNITU3VbtpFREQNi+z3ZZ9x7KumgOHMGT58uHYy/rXXXjvq9eabb+Kf//ynp6u/nuyz3njjDa1Q4K8ihVk33HgTEhP3aPvN//u//8N111+PWbNme7o4PScsQZVSKzlglJk9XslHreDgIJiahsDnss7wGtlaa6aVoPpa4D26HbyHtYTPVV1hahMOp8uJkuKSXzYcKcvUucsRt3o25i/bgM27EhDWfSxa2pMwc/pMLN+YiMDO43FB91awlKRg1vfTsC/PBmu2G426N0Ooj5ouNShrSSGKq3SIiA5GSe5h+EX1hJ+rEDkFOQiO7gp/k0MdsOgQ0rQz+g8chHZNG8EApzYN6qgTTdq2QN7OZZg140f8vCEexYYoDBveA/62PCSkHMbhzeuw8OcDaDLqAvRu1wKBAW6k7UtBhTEGvQb1Q4RXGXKKLWjZPAgVhbkorvZD86ZB6uhLHVypedW57MjLz4IhuBXaNG+C8Mos7E/Lg1+j1ujfuxsMhbtQ7tcHPXs0grU4HamZZQhs3x0D24WhoMqAQRdegPIdKxCXF4BeQyKwY853mKECWYY1AkMu7wffwiPIcEeidYQ3ClLSYYptjlBjtQrBDkTGhMKklpFLZ4RfgB9clfnIzs5FRbUNRpOXp4qvcsyXWb7gUl1AzkKNGjUKffr00ZrJNQBRUVG/KVGQdSqlrHJzmy5dumhB5UQHiSYVJqQquN+NfeB3W28tlFZO2Q5XSTX87ugL70s7wP+OgbAMag6o8HV0FV+ZNhs2z34Tr02cjhmz5sBr4L24KDAX7z7/H7zz9QLou9+JWy4bhnC1/j564Z/4aXcOHJl6xPRqDS8Uwm6KQkxgKVLzA9CjRxjy046gwBqGLp3CAbvaVrzDcdEll+Ef44ajZaiXmo+a9eiyFeLQuiK0vnk8epgT8NOhWNx2dVcUJG1Dvn9XDOrRB967v8Hne1rgnluHwVxtR2THaGx89y0Y//FvjGiiwqMuCwsWpuCi265Hp2ZBKE+bhWf/+QK+Xp+Fi6++CgObG5CasheRrS9BgAorOa4A3HPDP7B66vvY6WqFiLJ5WL65EN+89xYOeffAg7cPR/XBJSgJUfNbvgeTpy6ApXknBLRtjYsGDkMLywo8+9DTmLzuIDqNvBWXN9EjfvtOZNv9cekVV6NP8+AThoA/SrYJKQmT0HDPPffgiiuu0O64Kk+MlOsh5KTF8bYJGb+0k3AqJ8QksP6mBEx1s2V/GqrVGjyQUw6HCn8TLuiG0QM6I7fUhhnrDyCjsAIG1V+35uGICPQ5qgRVr3cjI2E55i5ajd1HCtHugpFoG6l+WOMK4NupKcK9i7B43k/I9GuCQLUNBEVFIshixZHUCkQ3CUXhoS3YEJ+r1ktbNAkLRGiIBQVFJrRQ3/nS3COo8muFWD8HclJyEdS6CSoTChDQvTECDOp7ZdCjMjcJS2dMUaH6IILb9UbP9lGoKspFpbsRuvUxY+XkqVi2Kw86kx2Vvs3QI8SOw5k6tGodBmd5PjILTGjVKlSrCqwzqN+ThHz4dIiELqcEzsAQRDa2oHBPLvTREQgP86757TkLyL5FSk7ld0N2+HLWWWpo1F5rJNvFibZP2Ubkd0dKUqU7+SzboJTCSkm+bE/1cZAiv3tyPb2cJT7ZvpCIiM4MORaVGjLyGy+/7afzkt9yOTY9Vy7b6Nu3r7ZvklqLtU9YkRtFSanqyJEjPV2dWXJMl5ubiztuv/2XElPZB9cc/4VrJd/y+XQc9yZJtRfdSitZkSc6QBByxrp2p139YyKqlxyALT5Lu8mNqUsjeI/rCMuIVjXtq6u1s9F/7KBBp8JkNZK2rMaSLftV8A1B5wHDMKBdLPRu5xmrzKbTm+DOi8P8xCIM6DsY4V7Os+WY72+zZ88e7csvd+yVsHoide/OWvXDbpR/thnWDUfgtjpgGdAMPtd1h9/d/bT2su398dILHUwGBxJXzMAHU5ag3DsEA8dei+tH9YevTgXQ+l6PeiO8KlPx2psfoTSsHx6863KEqBBR3+PRG0zYPGUMsnvNwBXtzbCdeBGflWSbkDvwydk4Oft37O+OXv1slKvQH5echw0HspBXUqW6UduTxYhOTUIwoG0MokN8z6IKrvI7Y0DJkY2Yu3QjSh1+aNqmL0YM6wIf3R+/Hv98JPsSOXCRfZDsmGtPbMj1R3JN6okuTfmjak/AybVN9RF6iYiI6MSOG1AlaMjO+ETV8uo6qr3suI/dd0vrOt2c7s5dp5Oz5fLOXVOi9ReRcf7OIjjvyTqVUjMp+ZK7qJ0snP6GLOBjjx+lkK0eFrpsM1InXrjUNJ3p1agdCLtdZ/REhsyTLKBzdZuUkCp34ZOzgnKi40Sl8LLNGWrXrVoYf+VvQr1T8yI3gZLfNrnE4BxdtWeMbAtyrwSp7SMhtZZcmyRnlKXq8J8l45BSWqk9QkRERGfWUQFV3srdemWHfirhlEhIOJXHD3Xr1o3bDP1pEga2bdumlYzVDRxEJ1IbUmW/1aJFC09TIiIiOhvp0tLSfpMoam86QXQqpBr46dYxJzoRqdotN7whOlVS1VfCKk+UERERnb10paWl3JN7yIGNqI87QBIREREREYnaeyLwJOrvY0D1kI1GqjfLIw/kcSr1cWMNIiIiIiI6v0kozcjI0G7gJ/drOVfIfWf+zL0epHBQ7s5cW0hYiynMQxaMPJRdHg7PcEpERERERPVBcoZkDAlzp1uCemyIawhKSkq0x8mc7ktuaCh//1RAlZ5lQAUFBZ4mf55Up5Xn2MkNUU53wUt/Eirl0QLz5s3D66+/jpdeegnffvstUlJStOuS5PEVMp4/Gz6rHFbklReh0n72XBu3fv16bdkQEREREVH9kef1y7G2PKu1vkiIlZc83UBetRlJHtkprz9DhiVB+dChQ1pOkkeAyktyUn1XP5acdzolrKec1iSYykzISpDb7dcXWegyPHmshCwcCap/hIRP6e/hhx/WAmmvXr3w1FNP4YUXXsD48eOxaNEi3HjjjXjrrbe0eZDxna4nFn+MOYmrEe4XjJ/2r8e/l070tDm+8sI4fDtrIj5cPRNvL/8EUzbugt3mwPZ9W7C7+PjzuWXxa7h2xSHPp/pRd8Ouy1GVhM++egJbjz3f4CjFxoTtOFRcs0FVZW/H8r0p2tNfTp8d8Su/x8+JhZ7PNuxaPBerk+rvy/yHFWzF5Q99iN2Fp/LFycOUsQ9iwb5Sz+c/y4mD8aux9kiZ53P9KEneiLnx2Z5PZ4tKbJw7B3Epafj5+zfx+rdb1NZSR1UaZk58Ge/8EO9pcLSKI1vwzfSfUOD5va46tBRvf/AlEopqPpcc3oLvfliKAlvN55NxF+zDtzPnI7v0FLb2isOYMW0uDhafwoBPRUUSZn6/HIX5BzBt6gKkVZ7+g24rcw8hITnX84mIiIjOlBUrVuCrr77CjBkz/lR1VyEBUY7Z5a70ctmh5KKvv/4an3/+uZZjgoODteaneyNJGbaUWG7YsEF7rKhUO5ZsJzfIlSwmj2f7Q4+LPAkpFJw0aZJWaCjjkcx2qn73GlSZWKn6KiEnKChIm7HjpWtZkL8X/qRfWQjHW6DSThaOFBXLe3mmpjxk/WRJvnZ4jz/+OIYOHYqrrrpK2zCkuZxdWLJkiXY2QxaIDHvs2LFo1KjRcRe8TPuWLVswYMAArS70sb7bvRy3znpJey9RT6ZKXp9f9gRu6j5aGv9GaeYmfLV8Dfw7XoyrunRGgEk1dBbhg3nfQdfhKjzQSqcC9FT8rDayArcvrulxPaKzp+D/Dvng8shqrEjLweDud+C+vi2RuX8FvlbTl+nlhB/a4ObRV8En6UvcuikblzT2RY/ud2FE7PHvpLtp0ya0b99eexRMXS7rEXw06Q1URQxCmS1BHRA3wSOX3Q1T/Ou4fnMiomO74Mlul2DrhlfwZXEw/tHvOjwSVYnLFq3HP5o1wp6KdJUGYnDNxbeiv+kg3ls0HylmKwxew/HvLj5YsCYNl1w2FmE+QP7OBVhb1Q0TBjRWY3YjJW419lZEYfSAJvj4xeexucIfsRUHkOHVDBd0b4WUTQuxu6A5nnzlSRhWf4qlpe3w2H1j4VWdgFf/swKhLYFMR388+2AfrP3wMUxJ7YMPX/8Htqov8SFLD4wfYcSUzydjV2oe7Dpv9Bh9De6ZMBip376Hj2cfhrl3GHoP7Is5i9Px30fHIXPeu1hqHoVXr2qKB598Fz7NmsN0aCeyqgIx4J7HcXsvL3w37iUEvfUiLo5Jx6QvZ2DDxgQUIBT3PP8SLmxtwPLvv8XiDXHILajA4Dufx02dnJj95WdYu1cFRv8WGHfzXRjVM1pb9lmb3sCNj3+KdFMnvPji27hywNGPxihPnocPv1yHw0fS0eLyB9C3ajPWlvXAf+8ZAl3hJjzzyXZccd1lyF/2GeZsOgJn4964bVwrfPvqg5h2pCn++6+ncNdlvbDuq7cwf3sqbMYQDLrsDlw/ug2mv3s35uS2Q5fyBBwyNUb/3i1xZMNKxJeqef/347ioSRnmf/UxFm1Lhb5FPzzy8P1oFeCZsIo0TP5iErbsT0GFzYxr//MuBlStw9fTlyLhcA6cPgHoeOm9eHRsDGZfcx/Wd+gO79wdOKzrjvF9/RG3ZROSin1x/2tvYGi0RQ3Qgb0bViDLtyOGd/bFzz+th9vfiYLKprj8km4wWouwbtVGuE1OpOna4YoWhZixqQrjrxiKAKMTcfNnoKzLxQjbvwSHIoZhTDc3lszaiZCmFuQUBmHkyM7YuWQG3G0uQ5+gDCxeuQ1VsMCufh+CWvXFyD4tkbJuOhYf1KNJdAhatYzF7oQjGDJ4IDK3LcERSyeM6RmCpQvnwW5pAqOrBEXlDrQecAn6RRVh9vwEdLvkEsRWHcbaTTtQWGlDqcMPQy8dgxY+Fdi2ejUOF1vhqtKj9aDB6BBchlUrtqDcrYfL7Y2ugy9Eu0hv9WXMxbL529Bs8EVobTqC6QsOYdC4i9DYp+Y31V6agfWrNyNf/XS6bdUwRrbHyOHdYSlJxeqVG1DgMMPbD8g9WIIBt9yKptnL8d3+MNx+aWusnT4LGb6NEewuwJHsKvQacxV6xqhxemTt2YQte9NglZ1dRCdcPbob0nasQ9zhXNjU71Knfheo9Z+KH6ZuQ0ibxnAU56NSp7ankUPg2r8S26sa49KBrbBt4Vw4216EC9qEeoZMRER07omLi8Mnn3yiBcYePXpox9gXX3wxduzYoWUJaS/Z6YYbbtCa181HK1euRM+ePbWscjxS4ii5JTk5GWlpaVr/8jhHyTedO3fG8uXLtYK9li1barUjQ0NPfZ8rgVFqwW7duvWXIGwymbRhyXvJSrXNY2JitOeLnyyHicLCwhN2I8PJysrSsmTz5s21fHVst/JZngYiobtuO8O///3v5zzvT6i2KFl6lomVBSczVPf1e+G0liyc4/UvL1kpcqZAZkDG9XvVcWXGpZ+NGzciICAAXbp00ZrLDMo45BmKvXv31t5Lcu/YseMJn+8q45JuYmNjjzsvm9MSMSdxFbxMFuh1eu1VrQ4UL2rdG70bt/d0dTSLf2P06zoQPdSBb3rCDDy3PBH9W7XD3pREmMJaomDrNCwNvwFvjRqN8Z37oVWYL9KTNiExbBz+N3I0Lm7qj4RtPyOoSRNM/eF1rPb2hdVVibTybJi9otHYXYQEr0F4Y8xlaBH421BdKz09HeHh4doGUJfTXoD9SfvRf+RDuL7XBfDL34d4mw8u7tZLfSlKcdngezGyeSM0c2aj1HgBnrlwELxLkzAjJxovXX41xnYYirb+RVgdn4GunXrBXLIXWzPL0K2VWiZtOqFHl7bwUaG88tBmLE/1x8WD28OkVmlVXjzW77Ji8MiesLjLsWHXITQadBOeuvc6RKzNgKHZANz1yJ3oUDQNGwub4LJrJiDzhxlIDQ3H3qWrEDLkH7hhbDNs2PkzSmxVyChtgR6GQhwqK0BeRhoG3jIKq166CdH3TsFj143HhLH9EffRcuRExSKsIBmllu545Ok70DWoAlO+fB/ffhmH4Y+9jLuGqpBoy8X8HWUYd80tuP26KzHukpZYctsqtLixLTK+WwvLqKFo4VWFnJxUlBZYkZG0AKlNBqPpmnmIr2qLf/33YVx5+QT0aOaDH969F0/NSlZxyKqmaw92Vvti1MCe8Fabl39ML7UsMhByxat4aGAsDi7/Avff/CjembsIJa2HYkjHpihO2oL4XB/0vfBijBnVCwcXLkCubyDi1i1DUJ9bcVGnCBht+di09QAiuw9XP2Kj0ME/D/t6PYp3r+mPPTP/have2wxvvRp/djLiC8vRp08/ZGVshqv/g3j2rqvhX5aDKvMgPProbWh/OE6FTD16DOoMU2UWNuw4gub9Lsbgbk3hpX0VKzD3rhdgufoBPHbH9bhs3Bi0dCXgkZmrMfTGp/HQLRMwbuxQ5E68Dak9LgMWx6HFnffhntuuR6vSl5DT6Wk8cus/0Mq4Fu+lxuLK9uEoPLIVu9N9MHiQ2jYc5Th0IBURXdUydu3FlhQ13Xs2wNVxHHp4pyI+3we9evVAI2s8Vh6xIDRvO/b6dsWIDo0Q3jgA+9ZsQXZZKQyhLTCwZ0tkJu1BVs4RpFc2x/C+vlg+fTWajb1WzU8HdOoYi/TdW1BoDId3VQ6s4X1x6ZBuCNOXImHHGqzfmoF2o6/ABe0iYLCXYn9aMTr0uwj9e3ZG11ZGrFmTosKsPw4l5SGqZXP4qthbUFiE4mobyrOzYQyLQvn+TcgL7INxF/ZFp64dEB0MrJk2FQdtvjDDDltlCUpVAGzZNAz71q+ELbonejQNVD+4BUhIKkKTti0RIF8YVxW2rlwKVwv1m6CmsaPaQen2r8K+Sh9kJsTBp/NFGDmoO9q2jkTevjQEtO2EoMpk7CnwRfc2IUhNPISIvsMxuHc3dAjMx8r4KnRs2wg1v3IOWOV7U1CCapcNeYeKENm7K5r4upCenAKrJQxt27eClz0X6blGXKBCc7eOnRHlSMHWNBd69+uv1kMcvp2xAq0uuw19Yny0oRIREZ2rpLDr0ksv1XKHXFo4YcIErRAvMjISU6dO1do9+eSTaNOmzW+yjNwkKTo6WsswxyMFb5K15JhdCtRkmJJdZPiSjyQUS3iUZhL8/Pz8PH2enGQbyQPynHkZt7wke3Xr1k0LvDKdEnglCMtLArY8QvJ4hXZ1nazmqwxTAruU1Mozyk9U8Cg5Tea5rpMnQEV6kIt6JeBI3eRsdfAlA5cZrfs6VbJA6vYnEyULQoqUZUHLQo+KitKa/x6ZDpm+f/7zn1r1Y/m7bt06rehaSml37typVfWVYvGBAwdqpbISaE9HiHcAQn2D4GU0w1uFVPkbosJCqM/RpZJ15SWvwotf/hf/mPYcPk4owYRegxCkjt90egNcegtGjr4Fo/Kn4I5vnsT1Uz/FhuQimNT8mPWelae2Xb3RoJpF466xt6G/zQ2TOqxsHd4NI5u2V8FD1kNNp6dDbZ7QG0xaibCUasqGZJQPlghcFAVMWvICfs4Bopv3UTOzEE+uXIlSKX0q24qPZ72Kayc9hckJdlxx4RDYDyzClAMHUa6248rScpSn7cb02cuQn52JjQcK0XNAby2YwZqC5SvT0evSQagplFNfENkWdDXzrDcZ1TTVzJTbYFTt5J0Z17x2P+I/vB9b/Ufg8v4RamtuiYf6hOKTiSvQ/7qRGHNPN6x992O4L7oPzU3euOzxj5Hx9SO4YsJluOnuVxF07XCM665mSq1+ncGz2buc8G53JaYsfgPhiR/htic/R77dCHNpGn6a9D/cfOOVuO3fszFs0j8QI91bzDCZDSjYvwPLflyE/a5YjBzVG1Lhvcu996BNcDzuvvZqXH7Tw5ixswRX3vU6nr2kI7x1RgREDcZdV16Kil2z8cKjU1Gms6B/u3bY98Lt+GzVYbS68A58t3Y11s+dgcd6hSNp6SxMXxYHm8OFzIIiVKux3P7MFdj00oNICrwe1/cNQnVhAr7/ZI4K5i5UlOQgsxxo3nUwQr79N/779XK0veIVfHFTfwSYLfAO6Iirx16DNuHyQ2OAWVfzPTCoAGQ0e34k1bI3eZtQUhCP6Z/PR5r6zSktzkGB+i4teflKfLbTjfFf/B/Kfn4X/7jiGlz/yP+wydYF711zIfZ+/iiuHq+W9UMvovqGbzAywgin+g7/8jNkUNt17Y+xWh5mk5oO60Gs3lqK/qPVtlHTQq17KVk0oVmvCxFZsh+VzYbjgiZGONxqOj0/8pE9L0GX8iWYkx6IYb2a1Wy/libo186GbfvL0ap9SzWoQPRsFYS9KmR3GNpFfW9CMOKyAchYNlW7FGDq9BWwtOyPns1D1PhU57W/hG4nDGFdcPPtV8H30DJM+2Etip06GO352L1mPmZOm4JJC5PRV4VOb6Ne+34a9E4UZBzEwZRcGP2C1e9XGPQ6L3QeNByhBZswedIkNc55SMh0YeDl49DUxw6HS233gY3RqU0LVB1cjaTqdhjcSW2fQm+EQX1PFs38DtOmfouZS/ah4+ARMKUsxdQpUzD12++REdEPg7u2RP+BnZG7ZS6+nvI9lq3fqQKyXZsXnfqvZnnJMjVC5/Yse/WTb7Z4oXTfckz+aSfgrETS/oPIKrYiKCIM4SG+MFYVYPe27cipVJ07q1FWUa2+MwZU5qdhxbwfMXXSZKzJDsCw3q2RtHYudjpb4t5HbkXl2lnYeNhTr5qIiOgcJ4FOMseHH36Ijz/+GM8995xWoiilhqdLQqPkIQmgnTp10qryTp8+XasqK6GxQ4cOWtCTPFZbs/VUSNiVjCUFcRKCJYNJ/zKtEpqlxqk0k+FJtxJaJaAeL1D+ERK0ZXpl2H/EH3rMjEy0BD8JlDLR9UFmXFauzICslNNdEBKuJHzu27dPKwmVaZVQ3bp1a+3sghRbn4wsuJNV8T2bST1z2aBlQ/zTUhZjxGor5tw03hMwT8aN4owklHi3QNMQOeHgRF5KGlxBEYgMPPWSluR1s/DppOUIGvMInrisrSdQnyGVSbj3hQUYf8cdGN3K39Pw73dg7Uy8O3UlOl77MO4f0tbT9GxmR9bBNJhiGiPM+9S/b9V5ydi0aSNyTK0w6qI+CPoTJ2hOWUUmflyyEe0HjEXbRvX82+AqQVJSKZq0iYXlNDbs8uxD2Ln7AMqdbpQVlyGs0wUY3rmmGnl9KsvdiSXL8jDsupEIPaNfQCIiooZPMoeERAlydWsoSrjLycnRrhWVkHms36viW6v2kkjJRdKt/K2tgivjk2xzuplJwqhMvwy37kuGJy+Z7lMd/u9V8ZWqyhKspRarFCoe2618lvk5toovn4PqcS4HVCIiIiIi+nudakCtdWx3pxIa/0onC6inQvo9XiBmQPWQEli5G7Cc+ZDi79OtCkxERERERFRLwpfU8JRS0Xbt2jW4oPln/NnMJBnsWAyox5CFdLwFRUREREREdDoklEpBGP0+3e4DexhQiYiIiIiIqH45XID9j5Wy6vJHfcGASkRERERERPWnygHDFe1hvL+vem/3NPx9Ove5VAmaiIiIiIiIGgS5I7E8L/VUbwwleLElERERERER/SWMRiNSUlJQWVl5/JsksQSViIiIiIiI6lvdElQJowcPHsSOHTu0R3zKTaMCAwO1x3zKs1Br7wjMgEpERERERET17tgqvhJSj63uK8G0biRlFV8iIiIiIiI6Y+o+ylPCaN1XbelqbXBlCSoRERERERHVOylBlWtN4+PjT/ocWGkXHR2NJk2asASViIiIiIiIzpzaEtSTvViC+jdxFVQif/hE2HanwAW1IuCGUV6NIoHOEbAMawnrwj2wrjugmsr5Azd8/tEbxibBsC4/CN2BAtjKC1W/xpoBwo6gD6+F//2DPJ+JiIiIiIj+frUlqImJib9bghoVFYXY2FiWoP7V3C63WlNyTsAEb4svwj78B6Lc7yM862mEL70TAf8eDp/RHVRwNaqXCQaY4XNTLwS+NgYR2x9GeNkLiK58B/439VddGLX2hmqeYyAiIiIiorMfA+pfTW6fXGGHxeyN4MTH4H1/f0+LOo7Nm8d81nmbEDTpGgRNvwFesgoLqjxtiIiIiIiIzl4MqH81uxOOjGL4vjsGxpahnoanxzKhE3yv6ANDTtVRt2YmIiIiIiI6GzGg/sX0YX4ImXcLLOM7epqcPr3ZCMN/B0N/Z/ffPE+IiIiIiIjobMObJP0dHG64dZ7Frv5o2dLw67mCihd/RvF/F6hWBu0MQvBPt8P7knY1LRW33enpST64odOrrgynFlDdTjVCt0u9U91LLzJ+Gfep9K7G5XZ6+tXUPLeo7rQTERERnaqqtUtR/sxBdWyjDkjkPh2KHJmaX74WwcO8UPrYAlRvypemWjvYnNDfORLBd7dXR0mAddsqlLyVAb//jIVPx4CabjRuWBetR+kLcXAbZNg1zVBhhvHJixFwhQ4lF/8EpxxTqeMybfAmEyzv34jAbj5qeopQ/OQPsG+211yeJRzqb4sWCPjuUjgnzUbF/Cr4vjAWvp7xVm9ahbL3kuH93LXwa+ulNTuWa9ca5N95SM3fxQi8qJE6EC9A6UMLYa2IhP9nI+FlBOxJCSh5fCWMj9+MoIE1w3Zs34ii+7bC8MyVCB4TfdRhmy1xI0oe3Qp3oZqJPh3h/9pwePvXPTazovTl72AtaoLAF4fDbKlpWr1lBUrfzYX/i6PgXL4Cld/m1iwLjfqrC4D3zJvgrdunpmc1nAcdNUVb6ljQHREB75dHI6BzkGpQgbInF6JqTY7Wp8bmgP6WCxH8QCe1nlyomLYAFYur4f/B1fDO34y8W3ZAf9sIBN3aRluPqDiCwqt/BkYNQOBD7VA9bQYqP85X24Ja5jJJ6o/pVbVNDK2pfejMT0Hx42r97ZeWnmmudkE/qi/MY62w/nc73Gpdw1vu6aKmt9oBt9kMr7evRWDPutsJnWm8SdJZwJFciHTTP5Fj/D9kq1ee6QlkhTwLV7nN08XJORKyUeL1X2RLf+pVaH4SFbfP8gTH31cw7ivkmh7X+pdpKPB/FpXzEj1tT65y7h7kqH5zVL/Sf7bpX8jp/4GnLREREdEf40xPQ2W6FT6f34KIDQ9or8iND6hwKkHECvv6ZNiMLRHgaRf28zi4p05FZp8fIXfgcBXkonr9EThKVJA8hisrR4XGXBin3O4Z9oOIiLsbIdc2gb64CNafD8N59RCESTsZ58vhKBn7BkrWFEBncsC2JgH2vl0Q4hl3xJaHEDH9Unjp7LCnZsI6exMKhn2G0oRSbXzOfJmWw3CUnfggXNe+IxCRiPL5h7VYVb1uB8o27kX1zu2oXJmtmjhR9eV8VJZFwaubv9YPqlKQf89y2FQQrLz7axSn1Q7ficr3v0LWoM0wf3s3IrY9jMDLqpDX/BkUzEv3dCMs8L0kFtVvrkbxT6k1cc6ZivIH1qnwEAJ9iwDYt++HVe8L/5WeeZVltf5m+EereFdWjOrtqdC/eENNu80PIfCxMJQO/A9yZ6hQq6bDvikZ1spA+HmWVfgKtZ5+mIzsxzer9no4U9JRvTEVTllNZYWwbkpCxW2fIe/z/TI16gC3EtbVh1G9v0ybPsf+Q6h0+SNo/j3a8MKWjIfzkw+Q2mkiytLV/LuqYF2pAs8toxDuGWfEjocQ9kpfBAwYrMb/KCI2XanCbwGqC2Pgv/FBRK6+m+H0LMGA+leTU146AxzqjVO9HNLMbDj1NaHXe/qVnwN5ueE2/oHVqMYlUVb6lXG7jDr1I6ydu/pdOoM8FEf9yKj3tS+dTDsRERHR6TAboT+YgsIOTyFF95B6PYgjumdQuFdO3KvjG6khlp0N648JqJqlgt0Xu2C1esH/1UHwVl14ys5OQB3joBjlLZ7wDPs+JEe/hNJtJdBb5HF9Ljge/AJpWruHkHnBGlieuBJ+g1U4tqmjHD8vuN6ehQxP+xTdA0i7c5UKigborCpp9WoPvw87o/zyL1FapsZWt1jzBHSWEPhf2xfuD9ah5JCarynboBt3JQKvNKHymzjYctNR+WM5zFd0gtlXBliF4qfmwu7VBiGb7oFPJ6DimtlaOFcLBz4PXYWwZ1vBetH/cMTvWRRvDlFB+t8IGddY66KWoVt/+D9iQfXz62B3u1E1cweq9pjU9F+k4qs6mvS2AKt3Is+rdl7vQ0rfKShXs6nTq+lwOeFcptbBD/Gomq36/XIPEDsQvqPD1dDd0HkZ4I7bhnzPskoNehPV/j0R8nQf1f6YQhSnGl9wOHymj4H72xnI+yoTbsuxx7JqnFL44ilV1wfGImTiLTA5DqBi5kG4dEbofMyw3/0hUrVxynbzGDJf241fTlVI6atWInxqhTjUcDCg/sWMMYGI3PN/aLTvce0VsfdxhG98EHovk6eLkzO2CkVQ4iOIVP01Uq+QxP+Dz4sja6rpnoLgDy5D+J4ntP5lOkK2PwivIS08bU/Oa3grhO/9P22aa/p/EqHTbvC0JSIiIvqDbA64WjVVxzMvoan7ffX6AM3cLyCkvVm1lICi/gQFwjSoGbwGRsPgqoBrSzFsORVa7yfnVv+C4HfwNc+wP0bzzKcR0CsQLqucptfD+P4diNXayes/0M34FtkPrYfNbIGuohr6R69AzC/tP0Ts50NhlkAng692wjJyFBrN7oGyS79CRbYDOvPvpVQdzKO6wDywCJVfbUHFES/4TGgD739cCF3eAZR8MAeOyFYIuL6ddpBe/fM6lE86AGxLQFHYu6hYlQ/Xxp0ofWdPTWFBVjUs145ARNyLaFb+PCL+2QIl1z+PzAfX1RSC/MIHvveOgsm+HYVf70TF95theP5yBDaSsai5qbICg7sjvKp2Xj9G0803wk8dnmqPSFTpW98hBha1HkzdImEvz4DrYCEc5TIVqhu1LHRdeyGszrIKGlWJ/G7vq5CrUyFX68xDwqeausB2iFz9EDD7G+RNPAK3r0nanJC7OAuu/QEwNPNTB8Rqw6i0wTTxATTRxifbzduIfqILTu2ImhoyBtS/mskAU7twGNtG1LzaqZcKnZCzU6fCbFD9hKthRGgvY4cI6BupL+opMjQOgrF9ZE3/7VX/bcKh85WdwO+T7mR6a8dtUsMxNJFrD4iIiIhOgxyJpmWh7LbJyBv9OfJGfobcCz9F0Y9pNS3dDri9zNpNJnWNguF790B4DzHBuvSwVlKm06vwVFiI8ge/+6X/vOGfoCS+RIUYqflVguobVAAapZqP/BR5F3yKwskH4TJJCaoNjg+WIH/0F6q96rfXR6jeFwjfyzuqkGOHy6iHa/o6FI5U7bXhTkTejbNQVWmAzu2ES73U5EHfaQjC32oH29Nr4MjVw60VpeaiaNznyH9ru3bpal2G8JbwHtUcjpd/giu6A3w6+8HUsgX8W9tR8eIRmMb1hXegyubFKSj+11y4x05AVMX/EF3wPGKr30Toa8GoeuwnVByqgjP7EHJ6/AtpHT9U8/8F8i/4DNZDwfAZ3xYyh3WZ2vSE370dYbv9I1QWdEDwTa1/CYRuqSW3Iwkll8iykGUlr89RekDuN6KCvppXhPmrY05/GFvEIOC+Ear5ftj2SlmuGopZdZO4D6UXquUoy3L4+yh9OhHGq4dA5U647GpZybqUZC/LzSXLTuoSBiJ81s3QL98Ae24R3EY5qaDIdcNxB1F0xVfafOUNeBkZnebBPPFqhE2Igb5C1g/geHM+8mV8Mr1DP0be48thrX36ohqEWzuZwBLUsw1vktQAlT29BKUvL1FfKPUDqL5UIfNuh/fYDp62RERERNTQ2RbNRt40H0RMGc1SPTpv8SZJ54Dqnw+i/O01KpwatfM9OrWKKp9ZBvuhgpoOiIiIiKiBc8M0fDxiGE6J/jCWoDYAxZdPQdWGZLh1gN7bdPybHlU74bY7YNYZYb6rFwKeG+lpQURERERE1PCcTgkqAyoRERERERHVO1bxJSIiIiIiorMWAyoRERERERE1CAyoRERERERE1CAwoBIREREREVGDwIBKREREREREDQIDKhERERERETUIDKhERERERETUIDCgEhERERERUYOgGzVqlNvznoiIiIiIiOhPq6qqwuWXX457770XW7duhdPp9LT5LWkXFRWF2NhY6MaMGcOASkRERERERPWmuroa48ePx9133/2HAiqr+BIREREREVGDwIBKREREREREDQIDKhERERERETUIDKhERERERETUIDCgEhERERERUYPAgEpEREREREQNAgMqERERERERNQgMqERERERERNQgMKASERERERFRg8CASkRERERERA0CAyoRERERERE1CAyoRERERERE1CAwoBIREREREVGDwIBKREREREREDQIDKhERERERETUIDKhERERERETUIDCgEhERERERUYPAgEpEREREREQNAgMqERERERERNQi6yy+/3O15T0RERERERPSnVVdX49JLL8Xtt9+OrVu3wul0etr8lrSLiopCbGwsdG7F05yIiIiIiIioXthsNlRWViIxMfGUAyqr+BIREREREVGDwIBKREREREREDQIDKhERERERETUIDKhERERERETUIDCgEhERERERUYPAgEpEREREREQNAgMqERERERERNQgMqERERERERNQgMKASERERERFRg8CASkRERERERA0CAyoRERERERE1CAyoRERERERE1CAwoBIREREREVGDwIBKREREREREDQIDKhERERERETUIDKhERERERETUIOjciuc9ERER0cmpwwa3zQl3lb3mVe0A7K6a5i43dHodIC+zAXqLEfAyQudtgk7eExHRecVms6GyshKJiYlwOp2epr8l7aKiohAbG8uASkRERL/ldjjhyquAPSEb1asOw7b+CBwH8+AqqtICqdupQqkKpCekMiqktQqrOoP6YDFBH+YLU+tQmAc1h2VoS5jahsEQ5gcYWKGLiOhcxIBKREREp0UOBpzJhSqMHkLVtJ2wbkqBu8JW0+KkTtaBpNSTUOFV72uGZUQreF/RWQutxphA1dvv9EdnRElJCdLT07UDRR4eUkOgU78Fer1eCy6hoaGepnQ2YUAlIiKiP8SRXoKKzzahXL1cOaWepseWaHoOFdSBoj7UB4boABhUkNRH+MHgeen8LICUlEr130obHNllcOaVw5VRCqcahytXvS+uUoOqPew4NoS6tP+NLcPhd29/+NzUE4ZwP60ZnXlWqxXbt29Hx44dT3oQSfRXMxqN2LdvH9q1a4eAgABPUzpbMKASERHR75JrRasW7EXZyytg25ImDVTTuoFRHRqoj/pQP1gGNYf3ZR1gGdhcC6U6L9Nvs+WpUIN0VVjhPFIE67pkVP6wG/YdGXAVVXo6OGb8JgO81LgDnhsJy+AWnuZ0plRXV2PHjh3o0KEDXK6akwVEDYHBYMD+/fsZUM9SDKhERER0QnJzo6qf9qDk6cVw7M31NK2lDgfUgaCxdRh8b+sNn6u71gRS45m7PtRtc8ChAmvlpO2omLZDC6/HY+7bBIH/GwWvC9ucXjim3/WnAqpOr5Vyyb2xNC4n7A5nbbn7X0RNg0EOcl0nHa9Or1cHvy643DoYTCat0F+jmjkcjpNeVl3/1DQY9GrUzmPGq1Pzolfr4djmf5w2v2qJyCrVq5l1ybXjZxkG1LMbAyoREdH5RB29SnVaV7lN/bWrz56DTxUqdT5m7fpOuYOuJAd7YhaK75uD6vVH1JFA3V2/G/pQX/hc1RX+TwyFsWmwOqr9G1KgOhyxbUtH6SsrUL34ANxVNtXw1+mQuwNbLm2PoDcuhalNuKcp1ZfTDah6kzdKd0/DJ/O2wDesA7z1DjhgQEBMN1w6qif83HZP5e1TpMKuriwbmYYQRHsbTy3k6s0w5azDY99n4l93X4YItcn/tj8VBl027Fr/E6zNx6BPSDa+fus9FEZ1QYjBCZsKbzp9K1z5j0EIUf3/kWCoJhllZRVwOfQICvZRy+8UetYbYC5Pw0ezF6HNBTdgZEtvWB2SIo3wqTiA/03egOGXXYHe0T5wHPV9PVU6mAx2bF+5GBn6rriktzfWrNyJJkNHo6W3E47TGeTfhAH17MaASkREdA5z5VfAuiUVVXMTYV19GI7kQrX3V8H0hNRBt7cKqb6mmus/jzkq1XkZ4f/YEPg/eoF2h92GwplTiqKH56FqdjxglwOaX4rmYIgKQuDrY+B7fXfV+G8I0ueoPxNQi3d9i+W5wbh46MXw0VlVXvRCceI8zNqah0uvvgtNzEXYHbcTh7OqENWqEzq1jYKhshiHcksQGh6FIC8D7CVZyHb4wq86DfM+n46yLkNxyfBhaGJLxLr4TDj8mmBAj3ZQmRUGowEZ8euQmFEOU2xXDOkYC0PWOjw1Owd3jmuP1IRkGJt2Rb/2ESo01syLzmBC/s7J+Lb4AvzfiGYoy0vG8vmb0PX669HEYFNblhE6WzKmvDgPPZ94GF0DgdT4lYjPsMMvpiMGdoqG025FbupBmBq1R6g3YC0rRlGFG15V+zBp/kpUBg3EHVddAL+yTOzatQdVfmHo0qM3wi1O6Ixu5OyPR/zBbPhEN0O3rl0QUH4IE1V/7boPhjHnICoCm6Fv57YIrz6Al6ZuwtBLJ6BPrBGHd8UhKbMALv8Y9OzeAaG+LuQdyoc+0ID0XbuRowtGt77dEOalvg96PcrS47F5Txb8mndAQG48Uh3tMGZUB5TunIWFR/QYeeGlCDBYf70c/C8kNzxK2h2HXBXopfT4t1wqkHuhlVo+kb56bRoZUM9upxNQeV93IiKiBsyZXYqSF5Yhs8UryGj0AvLHfImKzzbDsT9P7fllZy+78tqXBDZ5/fpZnlXqyq88Jpyqg+pRbRG541EEvjS6QYVTYYgMQNj0GxCx6l6YesZ6mgo9nFmlKLx9JoqfXAh3mdXTnBoSlzrQDAiOhm9QCMpz9mPyR18jx6c5+vbtAsvhpXhvxnrYKvLw0+rVOFKsoqHRDGvqJiyNy0F4627o0akD+gwcjM76RLy0JBnNug7CJQPbo9pmh7kiGe989DnSg3th/GUTMDjWjbTsQi34WJMzUGhsjFETxsI/eQbe+jkT3qaa74FeX4WkXeXo0yoUzuOUcLrdTrj14WjRNQeVhWmY9P5EHEYLFQhV8CvfiY8nfo98lwO7Fk/G/mI9zGq45RkHsXXzLvi0Gohu3Tuj08CBaIoMrFw5DfqWIzB6eG/42gths5Zi0ZfPYpcKiuOumoC+rSNQlJ4Lm9sIfUkOUkssuHDcFehe+TO+WbAONgnL2lfZDWulE4ExTdGpZx908TmE135YhUrVLmnRVMxZmYbOYy/HJb0MmPb8LOSbgZ1TX8Tcw6EYc9llGN7UhIQDSSiSIOh0IFQF4wOppSoclkP/N53ckdLlDt3aI6gkARP/9wz+88yzeP755/H8c8/gqadfwo+b8tG6V2/E+Bv+lgBNDYN8a4mIiKiBcRwqQOG1U5HV7BWUPrtUewSMOrJWbeTAUo7c3NB5G2FoHgLLBc3hc0MP+D10AfweGazdAVce3SLXk+rl7rrawaj0q/rxNSPwuVEI++EmmNpHqGYNl2VAM0Qsvxs+t/YGzAbVxHPEqoJK2VtrtODuYkhtEPQGA0wmM0xmM7z11dgWdwBOvzaI8quAw6lDy7bt0Lx5K7RT4aR3ywCo+KEFRYPRCIvZhKryXDidVrgcdlhtNtht1agO6Ihnb70W7SMMiNswDR+/PBNHSqpRZfBFgLdBdWOFwTccjUL9tVJfY9MoRAeZUVVRBZ+IGDWGuiXB8h3IR5VVNfNkM5127axJTbcJZjXdRUkrsa70CvSOLEN+QRBadmyDFi1boH3nbujaqBW8DE41zU7AIN0bYa8oR4X6WrrVdNusNjjsavr9muDia/+D4d1MOLBgBt7+5gfszChT0+KGn783nGreDN5BiGgky8AJl38ooiMCVRCthHdoLLx8/LSbmMlEmk027FzyAxZtKkLzls0RqebN7baqcClDC0NEZBjcleWo9gpFjN4El86ByhIXgkK84bbb4TL7I8TXIjm3hvqr9/OFWYV5ef/3UKHbYUT70Xdh2qIFeO+RCQhyGdDhonvx3aKFeP2RsQg32WE/rWrNdK5gFV8iIqIGxG11oOy9tSh7daXnDrd1Sjr0OhhbhsLn+u7wubIrTG3DoN0Z5iTcdnUQXFAF+75c2HemwzK0BczdG3vanh3c5VaUvvIzyt5eA3e1VGmuCek6dfAd8J8L4f/IBVp1ZTp9p1vFV6rO2nLjsXjJCqSVGKWMG+bYvrhxfF94uRzqkwFezkIsXvQT4pJK0bLnCIwa1gEWdfTpLtyPH+YtRbo+FsO6x8Lt2xjdmkfCmrEVk1fsQ9cR4xGTsQwLtqbC4Q7HkCvHoUuUvwqWpVg/eSa2F5fDFNML148fiIDKFPwUV4IL+naAn0GHgoxExFc3xojWgVrY0ekMqMzeiK/X+eHBa7vAWVGA9SpA7s52qWl2wB7aGuPHjESrAD2sqnuj3om4ZV9i5T47gtoOwXWju8CogqOzIgc/z52J/WVe6D3oQgSpUNiscztUH9yChfP3ovN14xGcsQWLVyWgzDsYfYZfikHtwmC0lWD1ioXYnJiJwNj2GH3xxWhiKsL6hAMIbdoVrcO8Yc1JxM7iQPRtYsHqXSkqIHdBrD4HP/20EHuKfTBk1DAY4tfD1mk4orMOoyyyJdo1DwGcRUhcko4mF3dEiAqfKdsXYPa6w/Bv2QfDOgbB6gpHh44RSF36I3aWB2HEJcPUOrH+fRn1KLU3ipIbVx1/iljF9+zGa1CJiIjOYs7MUhQ9MAeVc3Z5mtTSwdyrKYLeHQdL/2baDYPONy4VUosfnYeKb7YBnusKhdzgKWTmjfAe1tLThE7H+fCYGYPOhSOHdqPQ3Qq92vrDfjbdKehPkN8La1Eu9iVkotXQXvCT0lVPu7MBA+rZjQGViIjoLCaPgXFXyN1rtU+ev4pOD72/WR2pnd9X5tj356LgismwJ2arT7Uh3Q3vy7sg+JMrYAhvWNfSnk3Oh4BKZycG1LMbb5JERER0FtOZDdAHe3tePr++grzO+3AqTG0j4HtjT+0ROr8GeB2q5iUip+/7KLhyCso/Xq89rsZdVu1pT0REZxOWoBIRnQFytvfnn3/WzgiOGDFCO/OrO4W7JtqsVqxcuQqJexIRGhqKCRMmaGeM9+zZgxUrVmhnFy+66CIEBgZ6+jixI0eOYNmyZfD29oKPjw/S0tK1kpHmzZvj4osvhsVi8XRZo7y8HN9//z1KS0u1aW3fvj2GDh36m+6ysrKwcOFCFBcXa8O98MIL0apVq6PmT0pjdu7cic2bNyMhIQEpKSnauP39/bVl0a1bN1xwwQWIjo4+7nKRM67z5s1DRkYGTrSbkuZeXl6IiIhAx44d0bJlS+1mJ8eS+ZkxY4b2V9oPHjwYnTt31u76WVdVVRXWrl2LvXv3asOW+ZZuZTnIspk+fToqKipOuB5l3ho1aoS2bdtqy1jO+teSed+6dSu2bNkCu92urUdZB0FBQZ4u/jgZjmxj+/bt04YvN3m59NJL0bRpU08XJ5eamqqtH3kdOHBAm0eZZlknvXr0xMALBqFTp07acOuSbXr79u3a/Mg0/B6ZNl9fX4wePfqUp+1kbDvSUXjz97AlpKtoerzrTmu2F53JCHOfJvC7oze8xnaEPtRHa07HJ+v18OHD6vfCW1tfp/J7RfRXkNI3+X1q1qzZb36PqOFjFV8iogZCgsM777yD/Px89OnTB08//bQWpH7Pzu078L+XXkRmZqYW+t544w3tB9vhcGDB/AX45NNPtHD373//+6QhNT4+Xrt1v5+fH1599VXs3r1bmx4JaRHh4XjllVfQTgWvWrJjWLJkCd577z0tqMnn1mr8Lzz/Apo0OzpU/PDDD/j0009RqbqTbt54/XWEe+ZNAtznn3+On376SRuOBJ6QkBCEq3HK+6KiIuTm5mrzI7sfCav//Oc/tb91yc5M5nHXrpprMaVfedU9aJbgIzs+GY68ZDx33HEHxowZo3VbSwL1gw8+qP2VQP3AAw9o3RiNv4YbOQHwupqP5ORkbd67dumKRx97VFsHQvq99957UVBQoAVb6Vf+1k5P3WmR9zK/995zL0aNGqXVRJVhTps2DZMmTdKWiwS/Z555BjExMVr/p2Pbtm146aWXkJeXp82vjGPAgAF44okntJMbJyKB9u233/4l2EogkWAtJ0Jk2mRe5WBQ5i04OFhbdsOGDftlmcq6k7A+efJk7USENJflcaJAI9Mlw3nyySfRq1cvT9PT57Y5YF2bjOrFB2CPy4A9uQjuvPKau/nKHVa1qr91p8UFmE3wvaEHAv9zoXbXYzox2SZO5cQD0V9Ffl/q/qbT2YUBlYiogZCA+vHHH6NFixbaj/K1116LG264wdP2+EqKi/HCCy+gsLAQ1VardqZYwqX8YNdavXo13n33Xa2US7o9XhCRki1p17xFczz176e08CGh8PkXnsfuuN1aILnllltw9dVX/xLSpDT0zTffxNp1a9Whve6X4CJhbuzYsVo3QrqT4CvhSEoYb7/9dm3ehASbp596GocOH9I+d+nSBQ8//PAvIa9WRXkFpnw7BTNnztTCjoznoYcewsiRI3+ZHtmZPfXUU1oprARBCUiPPvqoVkpZS3ZfRWpZTZs6DXPm/qgdVEsAlWkYOGjgLyWktQE1Oztba3///ff/ElBlWU+cOBHLly/X5lkC/Z133olLLrnkqDP1Moz77rtPO+Eg8y3vL7vssl/GIdNSpsL/d9O+w/czZ2jzJaW7jzzyiBZSJbxNnTpVC3W1AfW///3vaQdUCfoSTqX0U+ZJplvmRcZ5/33345Ixl/wybXWtXPEz3n3/PS1oywmO66+/HpdffrnWXy2Z9nVr1+E9T3eynG677TZcd9112jBrA+qUKVO0eZH1K9NSdzv9y7nccJVWw74nBxVTtqN6rjoQyir1tKwTVk0G+N3SCwEvjoYhws/TkIiIzpTTCai8oIWI6AyoPfcnAfWaa67BnDlztLB1IvIDPnfePOSoIHnTzTdrpVnHO38oVU6fffZZZGZk4GkVPg8dqgmDtSRoSelozx498OrLr2jhVEgJVp9efbRwJeOSECt/a0l1YClRk3A6eNAFaNKkiRY+JGiXlZV5uqopfZNxyo4kMiISPXv21JpLYHrv3feQdDBJCzG9e/fGyy+//JtwKnz9fLUQeM8992jhVErrvvn6a60U84+Q0BeiAvrNN92sBXVZXhKeJCCfbCcoJMxKibEEbKkGLf1K1emv1XRI8Py9amTHlhbK5wAV+G68+Sat+rCQcWzatOmk1YJPh0zrzytWaKXkMtzBF1yA//u/mlJTWZbfTv1Wqxpdl/SzZ+9efPDRh9q6klAry19OLtQNp0IC6dBhQ3HXXXdpw5TPixcvxsGkg54uGiC9Dvogb+25qSETr0BU6n8QsfZ+WIaq7c8ohzqe75LdifLPNyN32CewrkuuaUZERA0KAyoR0RkioUCCjlyjKWcEpeqrlEAeT1paGubOnYtBgwaha5cuWjPp/1gSSKSK75tvvYUqa7VWdViumZQwNGvWLK0UVKp5PqWa+/j+ekdTufZy9KhRWgmkhDe55lACjpCSQ7mmUKqKStVUCWj9+vXTgol0l5SUpHUngVaq3MqZUAk1vfv01uZLSDcSTmVYEq7HjRt3VGnnsaS61vDhw2uq8qh5ylXjXrd2rRYwj0e6OV7Ik/A8e+4cbblKexn3oAEDj3stam3/Mq1SrVgCtJQ6yvWib7399ilXwz6ZKrVsJADKcqidHlmOx1uXp+tI8hFM++477QRCaFgorrv+evTs2UMrqZX1IiXF3377rRZWa8n2sfCnn35ZTnLiQNbx8ZZpLblGVk6sLF26VBtem7ZtPG2OJvMqw5d1J9vI8V6yzdXnMvg9OhVKLYOaI2KZCtnfXQ9D42BPmxqOPTkouGoKqpcc8DQhIqKGggGViOgMkgNzCX133323FkK/U8Hi2BAmgeaLL77Qurvxhhtgtli0g/6TkRsCSTVeqab5n//8R6t2+9WXX+LKK67QqrMerwQwODREKyWUdhJeNm7cqE2fBFMpTRRys6FWbVprN0eS0k25xnDD+vVayJBAJCWC8l7aXThihPZXyLWtVqtVCyFSSnuyayBrSb+NGzfWSlylv8ysLG0cdUmAknarVq3CVVddpYWm2pdUCZYg/NVXX2klglIa+NWXX2nTfyIy7fPnz9eqGgkZvqwPX9X/ycJardrpkSrTEt7lJTfEkoD/pVqH99x7r1YaLQE8MjISV155pTZt9RXOJJBPnjJZq2os63H82HFaNWEJwRJQw8LCtHUqN3uSaaol45cwLu1keUvJ+rElp6dDlofMr1QVlm1GTjrUfUnVbDlBI1WCf2+bPiNUUPW5sgvCVVA1946Fu87TH53ZJSh+bB5sm1I9TYiIqCFgQCUiOoMkGMhBvJRYybV+69at+6XkUshBu4QvKdWTg3xfP79TDjNyR1SpxisBRcLIzbfcgltvu00LiMcjgaZvn75aqJUSLwlXWZlZ2LZ9G0pKSrTAIlWIpeRTqiZ36dxZC2/rVEAtKynFZhVO5VpMCV9SStuq9a9BUEKPzKe8JARJsP09tSVvtWS6j3cjDBmmhFkJ8BL6al9yUySZZmkv1WhTjqSgok6p4fHUro9uXbth2NBhWkmr3M1WSlQXLVqkTfvJ1M6fXH9566234uabb9au55Vrdb+ZNEk72SDTecONN+KTTz7R7jpZn+QEgdwJWKZB1vuAgQO15Sil2mGhobj0kjHaspITBnIzKylNPZYsA1k/vzevp0pKneVaWzlJ8txzzx31kmZSJV1qBsiy+7uY2oUj6K1LYWoRpkJq7XzrYD+Yj4rvd8JtPX7JPRER/fUYUImIzjAJBBKEpOqsBCu5k6vcKEikp6ZpNwuS0iYJfX+Ul4+3FhAklEh12d+702HLVi21x6ZIoExPT0fc7jgsX7ZcK1mUwCN3WZUgIaV+Q4YO1f5Kad3MWT9g9Zo1WhCSACtBtm4JnNy0SaqzCi0seh4rczJSclt7PauEZ5kuGV9dtWFd7oT80Ucf4ZtvvvnlJaVy076dqqblAm36N2/ZjFdff+2oa2aPJetBrjt948038Nzzz2k3Z5JHvUigk5tPSUm2lASfiMyTlFbKzZ/kxMIatUzkxlXykut1pSRaguGdd9xxSo8C+iPkzs5S1VbmT6ZBlrGUzEtpstz0acyll+LzL2umX7YDuV5YQrcsG+m+TZs22kkAmQfpV+b5ZOREyk033aSVgo4fP14rlT2WrB+5QZNsu/I4JSktPfYlzeVkimxzfydzr1h4XdQWOmNt9W8VmO1OWJcmwVV4dMk9ERH9fRhQiYj+InKjIrkTqlQP/XHOHBQVFmlBK1gFJAmvvxcu64OEsSFDhmihQgKKPPdUgogERHlOpTz/sJbcaVaCpwQeCTpyYyUhpcEdOnTQ3teSEtchg4fAbDJr1XQnTZ6MhDolxceqfRyNlPBJcJHHzMjNfv6ooJBgjBs3XgvHUtqbfDgZBSpQH4+EKRmXdFsbluQOxVLKJ1WNpVRRqmBLlemcnByt/YlI4JOwKy9ZdvKS97IOz0RJoczb3B/najc/kuFLyazcaEpKLiUs177ks2xLcsJC1ptclyyPzpHpGqsCbOOYxlr/cnJCbgh1omuiHXaHdu2pdCfjlpMfreuUmJ+VTAYYO0dC7yPV3z21FNQfR0oR3NV8rAoRUUPBgEpE9BeSO7xKdcefFi3U7ly7OyEel6qQVHu33b+C3GFXbgwkgU2qt0qQkWtGu3btelRIjoyI0J4HKmFOgowEOCnhlGsNj73GVALarbfdqgL4tVpQk8e//PNf/8IrL7+CgweStFI/Ca7y2JIFCxZozyuVEjmXmobOKghrNyiKjPQM7dRJ2JJwKeMXDqcDWSr01pa8ngq56dSHH3ygzb/0J9fmyrNEpQTyTJBplmUpy16u35RS5OO9pIS5dj62bN6MRYsXaetK5rX2sS9SsimBtO5Lqhv37dNHW5dyEkJOBMhyDw0Lw1NPP6UFTSm1XrlypfbIHSkFlqrJMk3SfVxcHB559BHtWl2pgi13dJZhHm8blXmRElopkZUgfLz5kJe0O1nJ9l9ClmW5CqJ1S/Z16kDIywid/u+rfkxEREdjQCUiOgOkGqWUPB1bzVWqWEqwkKD347y56NGjh1a999jqj9KvvE4laEnYONVuhZSeDhxQ85xQCRfSr5RgStCry6SC0JAhg7VplWAkYUUeLSPXsR6PBNM777pLC0RSSivDl1B16+234dJLL9VKaCdMmIDXXntNK6GUktinn3oK77z77nHDj0yXjFNe8v5E/AP8tZJhWQ5SMivXacr01pLlUndYx6t6LOHtf//7nzaNErrk+lwpjVy0cOEv4/69YfwemT7pV/7W3klYtoUbb7zxqJc8L1f+ynWuMh4Jlz/MmqWVvAtZtvJ4H5nO45H1cJlazrJMZDnI443Wr1untZNl/uGHH+LhBx/S1qWUkMrJAQm6Mu9Soiw32ZKQKlWUZTo+/fRTbfuoq3Ze5CXh87HHHtOuoa47H7UvaS6lvVIN+lS30TPBVVwF6/ojcJXLtlG77HQwdW8MXcCfv2EUERHVD53aWfx9ewsionOUHMDLz6uECAlqdcOENJfgIX9r2x3bXsKQNPu9KqPSrYxLnGr1UulHyDhq30u/x06nkPYSQoS0O5VpqiXTJSVzEmBqr0mV6rVt27bVwrBUkz3RcGrnS/r5vfEe2636D8Y63Ur72nmtHY7M6/Ec262Q6RSnsrxORPqr3SZqh3EyMlwZfu101p0maSbj/z3SjywTUdtP3emVdjJNchdiKeWUEm4pnZXqvFKFW05MHG/+ZDqkX3mdyrwIGc7JlvuZ5na6UPbmKpQ+vxzuKnn+r8yXWp5+Xgh69WL43T9Q646IiOqXnAiX+1fI3fNln3Mi0i4qKqrm8XNq53JqexciIiKis4zbocLpe2tR9sJyuErlZki1odsNn+t7IOjd8TCE/XrtNRER1R8GVCIior+Zu8qOkqcXoXLqDrjtLq1EV7snjx7wGtYSAa9cAlOrsJqO6YyybklF6ZMLUb3ykKeJh1ol3pd1RPBHE2CIqt+7LRMR0a8YUImIiBoAV2k1yt5ag9LXVwLaHWJ/rSqrMxvhPaEjAp4YCmPnaOiMf0+113OVXGNqXX1YW/b2TWlw2+pev+yGzteCgCeHwf9fQ6Dzqn3kDBERnQkMqERERA2IbUsqih+bD+vGFJWcfru71fmYYBnSAl5jO8DSozH0UaLsmw0AAC4xSURBVP7Q+1mA2tDqdMNVaYMrpxzOtCK4HC5Y+jaBsXFQTftznTpEcZVZVch3wG3QQWdRgdKowr6USjtdWnNXUSUchwphXXsYVfMSYd+bpz3f9DdMBngNboGgD8bD1P6P3zGaiIj+OAZUIiKihkYFU9vWNBQ/swRWqWpqlxK9X0tUa9S9K/Cx7Y7ZTRsM8L6uOwKfGgFTuwhPw3OPM6sMpS+tQMVXm+Gukjvv1pY0110+smxql480P7ad6svfWyux9pfl1TZca0ZERH8NBlQiIqIGzFVUherlB1Dx9TYttLoKymvuzvtLsDo2nNaSXfUx7fR6mDpEIODZi+A1sg30f/OjUuROuc70Eq3E09g4EPogb0+bU+e2O2FPyEL5RxtROX0X3BV1HwlzMjVBVf7XW0zQR/rD66I28L2tN8w9YliVl4job8KASkREdLZwuLQwZ0/Mhj0uE/Y9OXBmlsJdatWCrMQtQ6AKnf5eMIT7acHNtjPzuNVXdV5GmLpGw+fW3vAa0QrGpsHQmX7/UTR/ilS/VdNp25Gh3RCqauE+uPLKtVY6gx76qACt+rLlguYwdYmCPtQHet9fqy+7rQ64SqrgSimGdVs6rD8fhG1XBtxSpffYIxOVUQ3RAdDL3XZr28k41PKR4RpbhMKsxmHqEwtjbBB0FqNKqqcSbImI6ExiQCUiIjqHOZILUf7RelRM2QFXbk0YPJrs0nXQ+Zi1UOg1TAJiCxjbhMHQyB+wmP74TZnUYYLb5tTCpPNQoRYirWsOq1cynNllgOdZq8cv6ax7iOFpX9vZL61q3xzbv1vNhwWWwc21GxrJfOjMZzh0ExFRvWJAJSIiOh+oXbc1LgsVH29A1ax4uAorpKF6ScirG/SkmWc3r1PB1GioKXUM8dECq1aqqd7/UtoonVba4Mgpgyu/Aq6CKu0mRO5Ku2pX98DiBOMxm2AI9YW73ApXWbWnuTi2+1q17T1/1TTqw/xgGdAUvnf21R7LI2GbiIjOTgyoRERE5xuXG67sMlSvTUbF5G2wbUuHu0gFS7vdEwlPFA5Pl0vFSTd0OgN0fhbtma7eV3bW7kRsah2uVTeW61HdxVVwpJXAkZQHx371OlIEZ155TRVeRarrSlVkYxP16hyl/gbBEOGnhslASkR0rmBAJSIiOt+pwOqussORUqRdH2pbcwh2FRCdWSocllZrzwmV61glRMpjbDw9ecow5XZNKszq1f8G9degQqiPCTpfEwyNAmBsEw5T92hYBjbT3hv8LdrjW4iIiI6HAZWIiIiIiIgahNMJqH/wTglEREREREREZwYDKhERERERETUIDKhERERERETUIDCgEhERERERUYPAgEpEREREREQNAgMqERERERERNQgMqEREZ9D+BZ/g/amrUaXeV2ftwBefTMHh4pp29anywHK89r+JOHjiO7ijOicZOZUn6eAPcFYl4qOX3sOmNLv6ZMXWGe/i40W7IZ/qjxU71k7Cs09NxL7i3x+yPW0L3n/pQyRUOjxN/qCKw/jmrZewYH+J9tHlKsWR5CLt/Z+Vt3kGXn9/FvI8n0/K5URJVjKK6mFhOnI34e03PsSufE+D0+ZCZsImLFqwAAsXLca86RPxzLMvYfKcJVi86CcsmLcce7N+f8PeM/cjfPj9Ou378HuK0lZi4sezkFHtaUBEROcFBlQiojNIbzDAqF46+aDTw2A0Qqd9qF8+bS7EE/+9F60MngbHKo7HV9/NR1p1PT36Ws2L0WSE3jMzejVfJr2uZj7rSWHyFuzJaImHH+qFDfPXoCY2noSalppp8nz+o3xb4JZ/Po1L2waqD27snDUNixKza9r9STq1DZiMnu3gd1gPL8Mnszeioh720Dq1mzeqdXPay+QXekR36oeLL70Ul1w8GiMHdURISBT6Dh+F0RePwaXjLkT7qCBPtyemNxi178Op0Mk2JsusPjcqIiJq8AzPKZ73RERUzwoP7sBhazi6d2oCVORjz85tOJjtgH+gGbaCvfju29ko8GuLlhFeQHUB5n87EQvWxSG30oIgPy9YvLxg8BygJ/70OeYnWdCtTURN0HFkYsYnU1AQ1R1ReavxzsRliBzYEyH6Miz97C3M2XQQ+RUu+HhZYMs7gri9afAJj0WYvzdcFTvxwdvz4duuByJ9a0aQs3EaPpqThPZ928NHBbSMhKX4esYOBIQFwZ2fhLlzZiDF1B5tIr3gduRjx+ZkRHXuhZgAN7L27kCWuRm6t4qEvigJ33/3LfZVhiPEbEPcku+xIqEUzTs2g+oTSRtnYNqUn7E7pQDm0AD4WiwwqyByFFcmFv6wA10mjEWT0Eg4Dv+Mbfkh6Ng02NNBNma99S6W78hAjt2OgIBgmNU0xe08hPTCFFQ5/ODtLEXc8u+w4IAb7VvHwKwCX17cQkyZtwnu4EjoSpMxf9ps5Jqi0aJRgFaCOvnjz5AZ3BGNzYXYu3s3sh3+aBoVDIvBhuVff4TN+TqEhRiwb/18zFmTi7adWsBLX4RFE9/DT9syUWh3wc/biYPbl2DajF1o1Lkdgi0GVGbuxe4MPbr2bgcfVwXWf/cJlhyyIjTYD/l7N+D76Yvh1akLQlxVyExKwO7UCkRGN0agtwn20jzk5BejrLwClRVpmPv5Z9hW2gjdWoUeHXgdJVg74wusSnMh2M+CsvQ9WLhqLfLLTGjTszcivYGigxvx7dTlcASHwFSZjqU/zsLuskbo1DQQbptaph++jaU7UlDiNMHfxwte3pbjnsl2lKZg295CtO7WHWFq063lrsrBsu++wuYCC0J93di7YREWrEpFi26t4a0mNv/AdhxxRKJ7h1gYbQVYPfsrLD9iQGSAGSnblmDu4t2I6N4JgWqk1Woce5Kq0aZ7O/gbyrFj2Wws3FGC6Eah8PMxI2frLLw/Zxu8/MNgqc7CmgXTsCTZgh7tGmnTnLzyS7z/w1bY9QZ4G23YtnQmvl97ACXJe1FsDIO7ZCcmfb4QrqjWiA2pMxNERFRvnE4n7Go/nZeXB7f7xCfJpZ2/vz8CAwNZgkpE9FfRwYkyhGHQsIFoHRuNqBZ9MKF3JPbv2IFyrQMd9FUuNB84BpcN7YJGYYEw1fmV7jjiMoTnrsf6pFLt88GNW6FvNwQDGxvhUj/nJrPplx91h9sLsV1GYNywnoiNCkW4Oqi3mMwIjopBkK9FK1kzq+5rw6/Q6U0wm4xa6LFlb8DMJWm48B9Xo0OzSIQ074FrrhuNrEWTsTHDCUPdHmvp9TA6y7Fk5nwYulyGCQNbIiwsHAPHX4eO+gT8sCRBdaSDUa9DZWg7/OMfl6BzTCT8LKaa/n/hxI75C2BtPwTt/dxwuo3oOOAClO1cjPhsq6cbwG7wQeyAURg3sAeigrxgdLnhVvPQb+TVGNSlOcKjm2LAhJvQsXoLZqxKR1XqVny/LAPDr70aPZuGI7JJZ1x11QikrJqFrTnVgJQCm9QyNBjhHdAIIWo5WVT4iVLrwWwxI6ptE1QeykKlPgA9R1yL+28ZgUBjzbS4DCqQdRqISwZ0Vt1Ho/sFV+K2kb5Y8ONayBQftbT0vhh43e3oF16GtYsXYsuhTFRb85B0uBomb39EhQfAaPZBREwEfL3M8A1phNjYxojwLcCiGWvQ4oqHcNuoNkcPU4mbPwV7LQNw/cX9VKgOR2z73rh6dH81T6qldFy1B9/P3omu465B3zaNERrVHuOvvwyu7TOwZE85dCYdrC4/dLxgDEb164DIEH94Zu8UubFx1lRkR47AVcO7qf7D0evCqzE0Og3TZm6AVLyunWY5HZH403TsNffBdWN6qmUWhI5DJuDSTnbM+HaZ+p6obnQGGOyFWDd3Gt5/bzEaX/QP3H7VQDQK9UX1geWYuq4CN9x/E3q3j0FYbFuMvv4udCpeg8nLDmnjcDt0CFPzOLB/d0RHNcWwCwcjojoXQQPHo0/bSDRuORCj+/tj1449qND6ICKihoABlYjoLyJnB319fWCpE8gkVP5SMdbtgtsnCKG+fjWfj+UVjmGDOmLf9s3ITj+Mfbku9OvfUTvYP/acpEGlkqDQ2tJGRY27bjd6nQVelqP7s9us2mdtalQ48PXxg3+Aeq83quymg8GnHe78vwfRP8YAp/NEZ0FVcy9/BKv5lOmSKpoweqPPlQ/gjlGdtPZOFSTDQkMkDx5Xwd412Fwcg9F9mqrQrMarJsgnsj2G9wjHip/WoNIzapMK06FhdeZR44LrqDO0ar5dKr6r8Cw7PH1wCMKMZq3qtQzXFN4Gtz3yEHpHeqlU76rpxePoOfRCl8FX4s77JqBVkC/01jT88OH7WHlErqZUQ1YdOx1HX9/rUuOFQa8th1oyDcVbp+OlDxcguO8Y3HjzjbjuigvROMykRu8Z4zHrSk0Y9i7/Bp//VIyrHr4H/Zv6e5ofTebR7XSqJVCHw6ECvue9Ww8fP2/4BvioDwZt3RiMUbj2kX9iVAc/uG0uWHy8ERB0/OH/PjUiLy+1zQRBtnCpzi5Vi9tefBceuGaAFnbrzpfO5A1/30DI1EgVcek2etAN+OfNF0GmwOlW82IOwZDLr8Nt4yIw66Mp2F9Uc32xXjpW3xc1u3Woz2oZ6vU1S9xtMMIrMEituVoydrfaPmo+1WzpTtjsajxHr3oiIvobMaASEZ1BLocdNhVctENjdUBtt9klf/zC7XJo7T2f4LDbtIPsE/FvPQhDAlPx2ZT5COx1KRp7e1q4nNqwa46za4bzS+ARQdGI8a3Enu3xSM8rhSWoPQa2B5YsmIedew5g25qV2LI/C1Y1KTIMc2Q/TBjVGAs+m4JNOxJxIH4dpn71GX7cklEzPJkXq11Na81Hp8yn3QG7wR+jLh+N6p3TMWXxDuzbtw9rf/gKX85ahhybdKlTIUp1d0yYq+UsOYL5K3ejx5ARCFEBuq7mg0ajnXMXZvycqj7p4LDJsqppp1HLwGHRIW7BTCzfsAtJe3Zj6fRJSI4YgWuHRsPSpDduuCAMc6d8ieU79mFvvBrWx+9j4bbDWumezLldW24yUANiYoNRfiQeO5IzUV1diXVT38En0xcg7sABrF+5CXmOUDSJkIl0w6QykTVlB+au2IC9SXuwctG3+Ha9HlddfoEWzFxqnm02h7ZsA1t0RKgzBxtXbMX++B1YsmY3AvzCUJVzCIXVatlHNUOwLR1x2w+hoCgDP77zMpbmRWFY73CkJiYiMSEBew4cRom2PH/V+dJb0ccchymzlyFuXxLiNvyMmdsPwtfmrFlOPu0wYXxP7Jj2BZZv2YX9B7Zi5jdf4Lvl+2oGoM3/r+v0pFR4tP2yvdXSY8DY6xCRPg/fLFiDxP0Hsf6nGfjii1lIs9dsi7XfB1neHUZfhba21Zg4cxUS1fRuXzILn309DQdKaobqVutTlpnarODXfDDuvWMEEme8g5kb02FsNQJ3XhyFOZ+pdbkxEQfjt2DO5C+R2vRi3DSiWU3/alyynf3yLdC+f3W/F241GzXTQ0REDYfOfbLKwERERPQ7irDoi8nAwLtwcfvaMwZERERks9lQWVmJxMRE7XrUE5F2UVFRiI2NZQkqERHRn+ODzoMvROcos+czERERnS4GVCIioj/FgsZtOqJxUN2rTYmIiOh0MKASERERERFRg8CASkRERERERA0CAyoRERERERE1CAyoRERERERE1CAwoBIREREREVGDwIBKREREREREDQIDKhERERERETUIDKhERERERETUIDCgEhERERERUYPAgEpEREREREQNAgMqERERERERNQgMqERERERERNQgMKASEZ31CjDn8y8xZ8kWHEg6gH379mLP/oPILrN72tdI/PY2PPn290g9qnE5Jj12Oe58eiaKPE1+ozoP3373BVak2VC8ezk+fmaWGuNvVeyajidffAWzV+d4mvxWzt7F+HTSNs+nv4MDO+Z9hNm7yjyfRRWWvvsuNhe6PJ9P3/6Fb2HqqkS4PZ+JiIjojzE8p3jeExHRWakKSfuyENOhOzq1jkZQUDBCg4Ph72WCTufpRClK3QB7eH+YC1IQ0qQJTKrZoZ8WoKJtdwRl69BuSHv4lCZj5pev4puZyxF3OAfNOndBgNGB/JIyhMW0RGB5GvYftKPD4HbwrhlsjcI4fLvFjtuuG4fy7G0o0TdHo8Cac6AFcfPx6nsq4KY70SLchPwiP3TtHIL4FWuQUZKEWd9sQsyALtAfXoIPP5qIWauT4BXTGk1D1BgKkzDpi48w5fs1KNVFoX3LULiLDuD7L17FVz9uRr45Fp2bBkNmM3/vcnz20ceYuX4/LLEd0SzYrI2/rvLE2Zhf2A83D43xNBEOHNm+G95deiPau84CU1ylRzDry1fw1Yy1SM7xQ8euMdpyQ3Umpn81EV/OXgenvw+y9mcjrFkU3KU5sAe0RPPAKvy44xCcGTvw/odfYGWSFd27tYG3oQzbv9uJYvchTH/rYyzanodmvTsjyAjYiw/h+4/fwJQfV2L3IRta92oN36osrF+5EKlHkvDNpOnI9WmDjt7JeOX19zAvoRht2rZHkJeaZms6Zn/wESbNnot0hKNjyygYtDkgIiL6+zidTtjtduTl5cHtPvHpW2nn7++PwMBAlqASEZ0L3Do9zCYT9DoDTOqvyWSEviIDi2d/gw8/nIS1u/Lh1LkR1qEDAopLsD+lCMjagYSgKLRrFK4G4Kop9QuIQqvuQ9C2XRuYspIxd+4GSLnikeQkZJU5YTjuXqMKy+f/hIRdCZg3fxHiV83BV0t/gk212T31PSzMaYLnXnkDL95yMXzLM5DlkjFZsW/7DOQGjcQD/74O+cs+xdOfxiG0WVd0bu6L1e88ge93puHI4SMo00Xgykcex1Uj26idlhsHDu/HEXc0rr//IVw/uIUWTuMWvo3HpiYivEVndG1mwbJnXsXsjekycb8q3Y3pO3xw1Yi2ngYnV528FM++mYBL7nsNb77xAu4e6cQnU6chKXk/pn09Ee2v+j+889ITGNO4ArO3JqBcTUhZxh4czi1RfVdh9/x1KI0ZghdfeQ2PDyzHsz8mquZOHNw4G2l+ffHg66/joctjsfzlxShXbUxq2Xft3Qdt2jWHO20n5n25A1aTDft37YClywQ88/yTiEhajZ92B+Lfz72C54fYsGD1BuQnrcIbL/0PqX5N0K5TFzh2T8PN7/+srTciIqKzDQMqEdG5QIKpFtXq8IvB6MtvwQMP3IwLuoVBZ3PCbjWgw5gByP5pAWbuOIwmbfsjwuKA262D3u3Aos8fQUbUJbjjtpvRL8ZPBVc99IaTV1jN2fMzEg2j8fYrj+PWG2/AA899hkcid2FqfAEim3ojOzUPdm0QlUg6lIXaGsZGoxG+XvJOh0BLGFq16YEJN96Em28ch47tB6GplwWWFj1w9R33oH8TCzZPfhmfzd2EsBa9cdd9j6JnYwvWfvUpPp+6HV6RTdGuY1dcddPNuOnaMRjQvwViQgK08WgceZg+ZwXCOvdHpN8xy0nR6fUwHVPgavKPRKj1CA5V1XzOzMiEWy2/0NAQeOl0KMqp0JoXFxagosJx9A5VzhKH+8LHVFOOafL2U+FeunBDr4+Cn1dN1waLH/z0BrUEKjH7zddR1HEC7rj1ZnQJ9EKZtwEGNRyzGoZaFIqKnAFe8PHXFhpMXsEwmnzg7eeH4IiOGDPhOtxy800Y07UnurSO4g6eiIjOSjr3ycpaiYjoLOBCWU46UrMKYVfBSadCkAtGhMa0QJMwH083gLUkE1avRgiw6GGrLkF+lReigy1wVFegpNiBoEaB0FdVIuXAfpQYg9GmTSgKU/LgHxOjuimHyTcEPi7VbYkTgZGBniqkLpSqcRtDYlUY+zX4uZ1VKMyoQmCTEDXMHCQeyITTKxytmwTDpkJecJAJJXnZMAbFwFerM6tUZuPA4QyUIxDNmjdHiK8ag7UQR5JTUFgJBEXHoGmjCOiry5CSfBAFVQaEhDdGs9gQLZo7y/Jx6EgKyg2BaNy8FSLq1EFO3jYNczIvwGPjYj1N6nKreTiMlOwyNTdqSG4XXN7BaNm8GQKMlcg+cgAZxXqEhDZD86Y1oddWXoT03HxY4Y2Aou14fVkJnnzsJoRW56BcH4gQHz1yCisQEBQEb6MOLmspsqotiAk0ojijEKaIMDXfOjhtVSgrdCCgkb8Kv6VI3n8IFbpwtGsdhJzsAgRGhMNdWQqv4EbwMrhQXlqmkqkv/LyNqvsyFFj1CA3wVVNtR+aBJOSUWxHarDliQ4K0ZUJERPR3stlsqKysRGJiolbd90SkXVRUFGJjYxlQiYjoXFeOQ+sLEDOwKWrKHuuBuxSb161H0pFCRHXoioE9O9XfsImIiM4RDKhERERERETUIJxOQOUlKkRERERERNQgsASViOgcIWcfHQ654RF/1unspZcbVpnkEUm8ipaI6GzHKr5EROeh6upq7Nu3DzExMQgPD/c0JTo7yUFKUlISzGYzWrRo4WlKRERnI1bxJSI6D5WUlMDLy4vhlM4JBoMBbdu2RW5urqcJERGdTxhQiYiIiIiIqEFgQCUiIiIiIqIGgQGViIiIiIiIGgQGVCIiIiIiImoQGFCJiIiIiIioQWBAJSIiIiIiogaBAZWIiIiIiIgaBAZUIiIiIiIiahAYUImIiIiIiKhBYEAlIiKiBsXlcnneERHR+UbnVjzviYjoLJWamorCwkJ4e3t7mhCdnSScWq1WtGnTBj4+Pp6mRER0NrLZbKisrERiYiKcTqen6W9Ju6ioKMTGxjKgEhERERERUf07nYDKKr5ERERnvSqsWpeEnaWej6fNiT1xBzAprgI8e01ERH8HBlQiIqKznhMlpdWoOMHJaakr5VKv44XOo5sb0KFrG9zc1Rc6TxNxon5luMc2l8+nMi7t/bEdqc8n6peIiM4PDKhERETnqspS/G9WHKblVUOvEuf6Lfvx8NoM2Jx2TF+6A5/uKVPN3dgZtxejvolHLhzYuSke726pACpKcOOcbXhrZ4HqxoWta3bjtrW5aqAl+Hz6dkzclge7GuaerfG4eUWaishW7EzIQqZDDi6cmLs8Dh8frgTs+Xj+q034aJ8al8OGSYu34r9rM7Vhxu/Yg/+szIOjohRfLdmPuFKXau7Eni178XxcUc08EBHReYUBlYiI6BxVlp2LTRZ/XBvhpX0e1C4CjqpS7MjKQ0GVH/o38VdNdegREwKDv05FTLcKiDr10jqHTmdC/5YB6p0eHWL9kOVW6VN1bzQb0KZZKMzqU7RqP8ipxoVyLNmbi3Wp6p3VhQJ1hJHrUC3cboQHB2FAtBqXCQgJ8EKvGBmvHu3CAmAyVSEjrwipNrNq4kJOlQuBrWIxrJEMnYiIzjcMqERERGc9PRxuJx5fnohLftyDi+ckYtiiQzgY1hSTu/nh/lm7MPyHRFy/Ph/3Dm6Lfo2jce/AIHz28270m70X78VL2WkNg9EAi1ElVBVUfUwGLbBqdHr4GeSwQQezSQ9jTVPVmR4m1b0JgegYDLy9PQ03rk2G3kuPwkOFSK90wVsF2trQazIYYPR8cKthm9Twopo1xcO9jJj68z5ct2gP3txZis7Bvlo3RER0fuFdfImIiM47biQkJOPlNCu8JIxWOnF19zYY3cTkaU9ERPTn8TEzRERERERE1CDwMTNERERERER01mJAJSIior+Xqwrzf96Fx9ZmYV5KLj5aHI8P4go9LYmI6HzCKr5ERERnM7cVGw8WonF0OGJ9jepzBbYkVKBV5wgEFRXgyfhilDl1uLpzYwwLM8OaV4gNpTq4yopw2CcSNzd2Y/qOHGxyG3F9kzD4OO1o2TQIAQYX0g7n4MMjFSjy8sLDXRqho58eaSk5+ORgBWw+3rijUyO09TcgLycHnyWUI8diws0dotAzRK5ltWP7/ixMTrMhLDgAd6npiTQ5sPpIIXz1LsxLq0Su24RHu6th+B197Wte4kE8mmXCpAubwuBpRkREZx9W8SUiIjrf6Czo6WXHxE0ZcKmPu9alITXIF3nxe/HQumK0iQjAoGh/rF63Gw/uLIahtBTPxOeiT7cWuDUwH3cvTsfIQS3x8QVNEetKw1wVNPUOF75avguPpdrRIyYIQ0OdeOvH3ViSXoJNh0rRNDwcL/aP0cIpbFZs3lsAv8AQvDQgtiacOqvx1ewETCvyRr8mQWiDclw2ZzcOl1gRtzcdC20+eGFQC3zSQo+HVh1Gae0xi9OGJRv2YHtgNL5lOCUiOi8xoBIRnfUKMOfLr7Fg5S6kpqUh5chWfPrE05gXX+Zp/3dzIzX1MPYlF3k+U30zxzbBjYGVeHvZAcT7BOPCWF94G/QI9/HHdW3Dcb16jQpXQTXMAofLDaOXCdoTUE1mBLpcyPY8Y6aqyoFq1DxixsuoR7cIf1zTNgzXNQtE30hfRAX64NL+rXBXl0AYMnNx5cxd+LnMhQv7tsHDvYLhX1SC+2bvwLRMG4J99egX6Ydr24ThGhVSL2zkjwCTAS413GC5c7AwG2Aw/3oo4lKHJd3aNcOQGB9PEyIiOt+wii8R0VmvAHOnrUGLfiPQuUWA1iRr9xIs3RKMm+/og5QNM/De7K3QGc1oP+5e3DGgMWArxtIpL2NhIhDV+zI8dO0AeDsyMf2Fj7G1shLtLroDd45qjHXLE9Cse080DrXgwLIvsSd4NC7rFQNr4V6s2AZcMrI99i99G18tT4fb3Q43PXEzOqkQZM3aju8PmxGdsQY70g9h/55slOu64NH/PoB+Tfy0aaR65rRhZ1YVAsP80MKrpuzRVV2JOakVqHTpMKBpMFp6G+Aor8TWKqB/eE0IdNmrsSOtAul6HSIq8rDsoA/uHROLCKMbZQVlWJpXjQqzGRc2DkS02Y2MvBKsz7ejymDAgOhAtPYzoqC4GGuybCjR69E9MgBdg8xqyE6k5ZViXZ4dAX7eGNLYH346Fw7nl0Hv64tmPkat9HVLiQM9wnwhmdXpsCKz0IlQNW0+ngxLRERnLz5mhojovFSCnyZ+jq05LkRE+qmDfBf6TrgJfRrXhNXqvBQs+X4+0t125BWXYNjNz6G/aSve+m4Rug25Fhf1bA0VFVC4ZxqmzCxH90vHYnDPKK1fR9I8vJ3RBf/XPg/TE8oRlp2NJtdcg8IP34b5yssQN301Wo+9AoPaBqmu3di18BVsDHsQ94auwr2T3Xjr+XHwQRWWLvsROeEX48Zu0h01JM6qMsyMK8B6G9AlKgh3tuY6IiKi+sFrUImIzksOOAOaY/yNd+O+e+/Dgw8+8Gs43T8HD32bivEPPIB7rhmAQL0DOgOgt4Tghrv/i4tVOM3aPAevPjsbRQHDcMfTt2nhNHnFm3jgm20wth6Hq6sW4O0VhWgf3RXdh/XE7tdeQ+qIcejRuBmaW8pxIKtAGxcceYhLKEHrKF843W4YIvwg5WjCZVPT6OD50IbI4O2Pf/Rrhg8GN2M4JSKivx1LUImIznpOlJdVwuTlC4vpt+cdq4uSkZxVBf/o5ggxlqGg0ojosCAUpx9ATrkbFp8wNG8WDr3bhsyDyShxOGEKaoJWUTVVcZ3WMhQVVyMwMhwm2FFYXA6LdxB8LTV1MB0lKTj4/+3dfXAc9X3H8c/eSfcgnU4PlqwHbBkk5GDsIGyCMw1pSGBiBxtCOk5aCGkpTXlICsOUmczQQEKDySTTJnEb2rRJmoZxSUtjGAIuCW5SYxviBMdgjC3ZsmVk2ZL1cHqyZOmed/vb80l1AmkTbFcr6f2a2dHudx/ut/uH9j772907MS7HV66LG2tUWGDJSZ1SbMKnqrIi94lG2fExdXfGVLyoXhVht78WAADMdtziCwAAAADwBG7xBQAAAADMWARUAAAAAIAncIsvAMwS6XQ6NwAzmWVZCgaD8vm4hg4AMx3PoALAHBSPx9XW1pb7pz5v3rx8FZiZbNtWe3u7/H6/Ghsb81UAwEzEM6gAMAeNjo4qFAoRTjEruD2nTU1NisVi+QoAYC4hoAIAAAAAPIGACgAAAADwBAIqAAAAAMATCKgAAAAAAE8goAIAAAAAPIGACgAAAADwBAIqAAAAAMATCKgAAAAAAE8goAIAAAAAPIGACgAAPMW27fwYAGCusRwjPw4AmKG6uro0MDCgQCAgy7LyVWDmccNpJpPR4sWLFQ6H81UAwEyUSqU0MTGhlpYWZbPZfPXN3Hm1tbVauHAhARUAAAAAcO4RUAEAOEs/2daiz8UcRQstJRK23t1QpQdW1qg0P3/a2VklHL9C/vz0LJHsPqFP7BpUzHbUEI3qi1fVq7aIJ5EAYCZ7OwGV//wAAExxZGWkz793mbZ8ZKm23/ROPTIvqW/s6FEydznXUSprK5l1ZHLUFMd2a7ZMeUrWLODWMvnamZeD3dEzJqfmudeM3e2nzLpnznc5pmYroS3/1aIfdSd/ef383ymmMFmbbO+vLpN1bKXzO+GOu2391Sc/7cl9yC836a3amM4dg1+uuW1215/8nDO59dTkByZTOloQ1Xc//E5tW3eZvrVEuvnHhzWenw0AmDsIqAAATLGUSKe1cd8xPbLruD6/7bD+7MCErn3XfAUTE9rWPqhTjk9Ba1QPbd6nVxNJte5p1T/uPqmAX3rjjRPa1zeh/9y5V4+1jChoai8e6tbLwwntOdSmDa8Nmc9I6sfPvKx7t3VpMGNrz942PXd4WD/bvV9f2Nkvn98n/1hM6596XT8bTSl2rEN3PfaKtg9nzUnbp7CZHyqwTEsnOTq6p02P7hnMTQ0dPKJP/2JAiePH9ZmtRxU36wR9cT21ZZ82D6SVPNyh6x9/VVsHsyrMnNKXntqrx2Mp01ZLO7bv1t3/0a2hRFbPb2vRD4+5dZ9G3jiqv3jphPr6RvS15w6pM+2TPTqkHW2jOjma0Dc3t2j3mPmc1KhebBnUSMrRSz9t0fcPx3PrJ04c14NbOzUaT+rRn7yi27afyNWH29r1sc3tmggE9I7qiCJ+R90dnXqw3dETaxerOLdHAIC5hIAKAMAUR+HCQt12Wb0eXLlQD7+/Sd++folWFvl1auSUvv9aj/aOppXOSiW2o7GUT5cuv1R3rShRa3un1v+8T//Wl9Sq9zTrliWlevW1I3rg1ZgODGa0on6BikZieuHlDh1dconujSb08yMxdY0GtaIxpI6urK5omK8C0wp/abmurfXreCyplG2rqa5OzWXuHLcX1ZHjnPkiLEsXLa9XU6xXOw736csnHH12RakO9I+oLliS6+0cSgW1cvkiNQR8uR7d8aoyfbCyUMnemF4qKNJN80O57VxyUYUWmW8G44kxHTJ5N1xUoFNmZ/3VNVrdEFHUrHffdU2qyvTr0Re69HcdIxoLhnTnDUvVHBrSt7Ye04Y3TurYqZM62GcrFAlo3KyfLZuv1UvKVexzzLHzm2NRkmt5dVVE40FHJqfnZBNp9cUDuu99F6nGhHAAwNxDQAUA4AyFgQK9VTaKVAR1ecTWQ1sO6v5XBtVQ6tf39vdrvK9Hd/ywVfe8fkoHw0HdWFukns5effqZfbqvPa4LoyW6orLYpL1i/Z6Zt6Ezq7UXl6rx8godOdCnzKKFqvOH9fG1jUodbtGaTft13dNt6q6q1+83lshv+RQ2wfJ0k4J6R1VID714SN89duYNsGFde1WVntjVoxWLa7WgoFArrliq1eXD+oPnWvVR05Yne7NaGvXL8ftV7nb3GsH6Bm18d5Hu/ffXtPrZA3rmSEoZy1EgUqa7P1SjQ3sO6MYftOjen/ZoQSSqsD2mp7bv183Px/S0CeeXX1CkBYGEtu7cr5ue7dFG06SG+WE1VZTpT9fUa7TtoD7ydKvu3H5c0UKzL2Y/wub4FvnzB9jsW7mZnjzcqfSwWrvjivMrMwAwZ/GSJAAA5qyUdu/p0GMdWQ0VFSgRz+r+ay/Wymhhfj4AAG8fb/EFAAAAAHgCb/EFAAAAAMxYBFQAAAAAgCcQUAEAAAAAnkBABQAAAAB4Ai9JAgBMOzueVttdG5XYuEslKpz62RH8djJmGAlLjZtuV+Xa5tNFAACmCW/xBQDMSIMvtKrzmg2qVrlscVo6G46JqX2XFuvKlkfyFQAApgdv8QUAzFD0mZ5bHE8AwMxEQAUAzEJuP2zKDHZ++nxxe3vdz3lzr6/bk+no118tBgAAb0ZABQDMMgnpuvertvcLqnnyOhXkAuT5kJVdV6to+3pVrlpgpt0nQE9zlFTRQx9XzeY1ZoqQCgDAb4qACgCYRTKyKxtU+ufNGl3zzzq5rU4ldyyVpbicSxtU8tXVCn5xnaqe+aQq/+V6BQNu32e1Sh5ep7Ivf0AVm039r35XBcsaFP3en2j+5j9S0doLcoHTqapW5Cu3qOq521X5nasVuDAlpWxpwgTgTNYsE1To1htUueVOVf7DBxRoSskedetZWe+9UhVP3qbKZ29X+WdrTTvj0tXNim5YpdBf32S2+UnN+8rVKjzvPb4AAPz/syzrfx18Pl/ur4uACgCYNRwT8UJ3rFMkklZw7TKFr3JU9PAahecXy4kUK/ixZgW/vln9N/69xvrKFf3ONblgGfhgk6yhfRq44ZsaSTVp3qfqNX7L1zXwwA5FvvRhhX/nXare+QmFavqV/EWnUsEGVey8X+ELQlLWluMLKPzE3Sqt69LQ6r9R7FO7lO6ucN9EqPAfflS1/7pMdke30ns7pXV/rGoTjn0V5Qp/qEG+zzyu/rXfVqLxMkUeXGEiajq/NwAAzHxu8Fy2bJmam5t/7bB8+fLcS5LclyURUAEAs0RG1mWrVP6+AQ28Z4MG1/9Igzd/Q/1fParoP62Szz3jpdJyHPcKrU/p8awcEy5zLxTKZuRMDJpxvzmROnKS7u26ZoWsJSdhlsv0KTPoV3rH6xr+yyc0semonPYupZIp98wrpc0y+3vku6TOrGe2GSpXYEmdLH/crNcve7xQE3/7Aw197nllWoeVOXRcGb/ZvvkcJ3cq9ikzbj6TDlQAwBzHz8wAAKbd4AsH1HnN187yZ2Yc+evKTVg0oTCWzL/H1t1WSP4Li+TEJ2SFi+UcH5btBtPKUvkLMsr2puSvL5FGh5UdMSdGU/dZKWVjE1IwIH9NseyeEdkmi/oXVaugOmiWHVK63dQcs+2FUVn9o8pOmIA8r0yFF5ptJePKDpsVTPDN9o7JCRarcHGlfCFHdle30j22rGiJ/OUFsjtP5lpp1ZbJMuvZQwl3ym3823L6Z2YiurJlfb4CAMD0cH9mJh6PT92++5sgoAIApt25CahwEVABAF7xdgIqt/gCAAAAADyBgAoA8AB6Tc8tjicAYGbiFl8AwLSz42m13bVRiY27VKLCs3gCc25zX+00EpYaN92uyrXNp4sAAEwTnkEFAAAAAHgCz6ACAAAAAGYsAioAAAAAwBMIqAAAAAAATyCgAgAAAAA8gYAKAAAAAPAEAioAAAAAwBMIqAAAAAAATyCgAgAAAAA8gYAKAAAAAPAEAioAAAAAwBMIqAAAAAAATyCgAgAAAAA8gYAKAAAAAPAEAioAAAAAwBMIqAAAAAAATyCgAgAAAAA8gYAKAAAAAPAEAioAAAAAwBMIqAAAAAAATyCgAgAAAAA8gYAKAAAAAPAEyzHy4wAAAAAAnBOpVErxeFyWZeWGsbGxqXFXNptVMBjMDZOxlB5UAAAAAMB55QbQ8vJybdq0Sbfeeqvuuece9fb2KhKJTIVTFz2oAAAAAIBz7swe1EnuuM/ny4VS27bz1f9BQAUAnBfuSYdTzMzgflE488sDAADnwlsF1P8LARUAcE5lMhmNj4+/5VVReFcgEFBxcXF+CgCAs/fbB1TpvwHxrjNqah/A4QAAAABJRU5ErkJggg=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106" name="AutoShape 10" descr="data:image/png;base64,%20iVBORw0KGgoAAAANSUhEUgAABCUAAAJcCAYAAAG58i43AAAAAXNSR0IArs4c6QAAAARnQU1BAACxjwv8YQUAAAAJcEhZcwAADsMAAA7DAcdvqGQAAP+lSURBVHhe7N0FgFTFHwfw7+Y13d0gKQhiJ2JigIit2Pq3wcAEEZEQUenu7u7uhuvu7tvO95+ZfcfdcVwAx3Hx++ixM6/27ezsvN+bVwqJAXPixAkoFAqevGF9+/Yt8+Xt3bsXSqVSHnJjHn74YTlVtezcuRNWq1WkBwwYIF6vx+VKERoaihpv7kDWgv6XCz/u5BE063ufSKvY9+sQUwKjRi7HyFGvimF2p2ug0WKHp5tapHPVeG07shY/fnl5vIrwqXf7ZeCxrnXge/YQut3xABJNbmjizcY5LGK6K/HK1bBhQ/wwbyf+eOdx/LPZH18M6CKPZevGVsTopoKb0Q6/JCO6NvKUx1xdZGQkPDw85BzQvn17OVW58Urx+OOPY/PmzcVWijZt2iAiIkLOFSYqxblz5+Dj44Mab7BKsbA/PNzdAI0HbGYjnA67a0KVBiol+1olB+x2hxjGBrpe2bCrqfEqqxRLHhfLU7Dl2S0GMS9fjCVkHzTtH4GbmxZWi4VVFoWoNFo3N1hYPj/+Jd599934ctpmTP5kANw0KtgcCripWWWw2FwtklIDOK2soipY5ZVrbzH4byE5OVmk+fzt2rUTacLKIy0tLbexqLDcWEUpa7nNLClMkZOTU6oawVsSUrnpdDrWUtuhVhfczF9JbOx586nRsOZXTmdnZ4v0p59+KhaSy3tUP/E6P8K1uVg+c6h4FaRUfLnwP9y5+CA+nDdSDIqysX/0B7Hl58mwZJ3GM59PwT/DXNu6UQuW4UwGMGXhYaSIIcB/a07JKVKWhg8fLqeAWrVqXY7xeAzi5+cn0pxK5QoHqKWoJmw2G8xms5wr3uW9D0JYAyFey2bHn1QZPHwotlL0fHcc7v90spwjVR3bE8X58+evXik6vPi9eD0/9zvM/e5VdB86Fr+NHCWGkYpt86Gzcqp4xcUMV60UFqNr76N1vzfQoXkDkebWrl4jXr/64kuMHjUK4//8Ex+89x7+99HH+OzjT8S4kvA9jTnLD2PjvJmw2lJhzwkQQw8tngqzM1NMk19GyDZEHuLvy9bJ4trmXY2T/QXpgWWH4kV+9erV0FuBsFSTyOe3dPY8xPvtY9OsArIuwhRzAQE5TjHP2tUr5Klc+LCIdCfW7g/A6lWrEH5iC2BNB9//2jDnH9dE+UQfXo2ciLPIseqx2T8FC7aewpz5rnIrayF7VmHA2ktyzkVEiE4L9i2chn9OJSAt+BisGUfEuBD/HfC9sBXf7wgV+aJcNdBsO+QXuLu5wX/Rj+jy5hj0ua0F/njrUaiUKjRs1BBxcXEsrURMTCwaNWrEtkOubVHzFi3kJZBbZdPBs3j2wTvkXNH4l857kPPjXd/8uy1276PT66MRtORnOUequlJVClK95FYK2iUlhVClIIVQpSCFlFgpfv19JvvXidSMNNcA5uPhY/Ddv9vZ7lwwIi0m/DFsGtje4GVRLDNt5HCY7MDO0cOQKg8nlQMFmuQyCjRJkahSkEKoUpBCio0p7Fn8uASpatS1OsupgkrVo+mwxMkpUpWo3JrJqYJKHWgqlGpxXUWJFMUt6irzs+W6XuXLBEiFUWKlkJx2TB01BTOnrmFVTAOdWUJm0DacW/CT+KoXb3Qdv886uxDHZ0/AzL82QhW3RwzzW+E6B8Noi4IhdBP2TPsSiVoNW4wGxoD1ODbre2we8wlOL/8VUyctFBXLGn0AmRFbsfuvz3EuRgGFWovzS7/H1H8XiCOx5PqkZxR92sGVaPNRDd3w5oNUP9SjSS6jloIUiSoFKYQqBSmEKgUphCoFKaRaV4pN/43G61O3i/SOQ8fFK7/yZMfRcyJdXVXbSnHS33VBTP0G9cTrEw/cLV65J+7tJaeqJ+qnIJdRPwUpElUKUkil3nzwu7NURLm3iqpsSnWSTWVw9uxZ3HGH64LadJ0ddX2Kv8kXKVqViSkaN2wAWA3YvXIxToUVvpUBuXa090Euo70PUqRK3VJU1LvmarVaOVW55N4djzYf5LIqUym2b98OH5+aqN+qM5qrE7HhAuDU6/H6i33kKUhpUUtBCqGbq5IiUaUghVTqzQe/nWNFxG81WRnR5oNpeseTGPnTN+xL/AGL3+yMzEefksdUb9RSMK90q4/lvmV3E6bK3lJU6krR7oVv5FTFErZ+gpyqXGiXlBRCMQUpElUKJjU5CSny4ygJbT5IPrT5IEWiSkEKoUpBCqm2lcKW7wQdi9UByeE6M1xvKPx4qeqmWlWK5978Tk4Bs3/+Ds+/vBB39OgMN60KkdsmieEqYxwciacQtmcSJn/4GC65HqdWrdDeB7mM9j5IkahSkEKoUpBCqk2lmLDqFHL3N4KXvYEP3n8bh9PNCDeyAXH7xfB33n4L6yKBmJ0T8cnAD/Hyu+Px8eT9OJ8QK8ZXFxRoksuqxKHzHINZTlUsNbzc5VTlQudTkEJol5QUqVpViqAz++RUnn5DxsIZvw/LAxwiP275XuyuXnFlIdWqUpyPYs2jlInTAUnyEGDPyhEIUN+NGoHrEZJkwP31DejZyLVFPRoQgi0Hzot0dUIxBbmsUKB58uRJMeBG1axZE506dSrz5e3f7+pLuFF8eb16Vc37ZG7evFm8PvPMMzf0FCVRKS5duoSGQ/dD07MpMn/sBqe94FZlyfQJeP1j1+n0gSvm47aXh7I3VUGSXNth8dyofO2NyWRiy9sHTffGyPylB1ueik3PJpGnUSj08DsZBk9NJFr3fEEeljf+ar6YtRsaNzcs//lFXMpRoYu7a+JNI5chtd9DePe+JiJfGj4+PggNdd1cld/jokuXLiJd2fFK0b9/f3F/jOIqxcKFC/HWW2/JOcBsNsPdPW83WlQKXkDt27cXA3jazU0L/zgdOjRwg5OVvZZ9GQrJCavNKSqCVsMqBB+h0sDptMNhlyuHLDU1Fffcc49I5y4vMNGA9vW1cDgKfvMqpRIH98zEA499wgIcB+wOpzwmT6NGjfDNrO0IjE7GljFvi0BIrVWzdWDTapSQLA6Mmfgfvvv6UzaGjy28jPyys7NFxc2V+9mJiyI9PZ2VbfGFeCvxGn8z7gxTUe+CUxEoWHBRZKPN7wfJ71V5/Phx0SyRykun08mpPPwHJ4eUBYjgYd26dVCpXM8Hzb8t4hUiNz/lxBrxyo1cPFG8Dlo+VbwK+guYNf8r/DZlusimsb/tQem4OOMVjPn9ZyRv/xpH+EAk4fCIXnhzji+WL1rEBzBOWDJDsGqvn5wnZWXYsGFyCvDw8LhcOfh3m7u3weV+/1yxLUUufgPThx56SM6RyuhqLUVRqJ+CXEbHPkghuaFCkZXi4S/+Rd8PXbEDqR7Onz8PpVJ59UrRduC32P/P5zg5c3iBG4PEx8Xhn78ny7mCfC9dklOksrtqpbAYs/HQG8OwdudheYjLuXPnCuydvPDsc3IK+O/f/+RU0axyf0iWFdh1znUo0p4Tz/7JO0C1ZMFcOZVnxsrjiNy3AMdXz5OH5LFlJWJ7aCZOhGTAN9GIVAMQlM32qLYewrnDrueD5fpv2ixsumTCruAETJ+zEGvnzxHDV69eLV6XbzkqXvNbtXoLZqw7hjlLVmP27I3yUGDp4nmX58u1fOlC9i8/vy9PjPx6MyyLcr1+vSbQlZB9syMaOWfWYVlYbgddHAb+Og/Rh5Zg7rFweVjRrhpo8tahY4uGiEpMh8VmF7fr4b2UvN8iJzsHLVq2ENMlJSaiUePGIh0dFYWWrVqJNKmcDh06JI4LFbn38feqfbi/ezv07uSqAKTqK7FSkOont1LQLikphCoFKYQqBSmkyEoxePhC/P3vFKSw9N9jZophE+a7zn7atOBPZOsScTTGDFPkPnw2bocYni4//G9/jBU/DBsOflTFr/Rd7qSCoECTXEaBJikSVQpSCFUKUkiRMYXksMChK7mfnFQu6lqd5VRhJfZo2g3hUKjd5BypKhTwhNKtjpwrqAwCzaKvKygL+c8ZJOWrxEqxbOQwJB+ZjtUTRkBSqpEQGYY49uc0JWH+uP+wd8pI2C0mzFi0BxsOpkDJvkyVNhPTp23CloAM9gYOLBr9LeaNnC2Wtz9ahWSDGio3LWLZcqbP2I6la88gLjoSBo07m9cTTnMalo2ahJVbImC1O2EM2orQtSUfmidFC4+IllMlo81HNXOTNx+kqqIeTXIZtRSkSFQpSCFUKUghVClIIVQpSCHVslK0+2iKnALe+WUa7vl6CjJtrp2wPh9OxOnMinnT1vJSLSuFJT0DX605K9INtHZ0vPdBXMx2XThTt3EH7Ais3qeLUT8FuYz6KUiRqFKQQirt5iMrKwteXl5yruKIi4tD69at5VzlUuJJNpUFfxhgTVeyQggLC0O7du3kXOVSZWIKT2sWIIVjzQzXbQXIjav0lUKjrcU2gm3x4kfvyUPIjaJAs4xV1k1HfpU2pnA4HOKvorkZdwcuL4Xu4k/KRmUONKvOLRMlG+J9j2PNmtXYeTrq8h2n9obY5RS5VtRSlLGq0FJQpSCX0R13SZEqbUvR5a0/in+U0C2iy8pAzKa/5FzlQi0Fc3frGlg/fQT8p38M/nCj6SP5k4VIta4UxyNzEBadjC4fT4daBXw8Mu+MrOqs0m4+Xv5xKs4EyPchrkAOzPgezRrWlXOVC+19kEIopiBFokpBCqFKQQqhSkEKoUpBCqm0lWLdwQtyqmIZu3iXnKq8Km2lGPjg7XKqdBzWvGeb5yl+b9xiufbD7ynZejlVeVWbzceKY5EIYHXAKVlE/qtt8exfBZZ99zYc8QfgMJ7HsFcHwRi1B+HLvsfXb76BV95bjWxT9evGoc6rMvbVlHX4+9OBcq5yoR5NUgj1aJIiUaUoY3zzUdlVi0pxdP1MTN0VjQNZrvzbb/4uXt8ZOIr9y0/1zcYLTz6JRAMLRPmIjNM4vfAbTP18EN4c/AEfUq1QTFHGKNC8haw2O8zWincafw0vdzlV+dDeBymE9j5uEgo0KxN7CLIuFf7Cfn79Hnz4xRhEyL3TH47Z5Eowe8f/T05VL9WnUqg7wL1JD2wcPwDHTp0FJFctGL3kGIYMeRH15adYzPjxWey+FCPSXQe8K16rG4opytjXbPMxqSrtfZjNZsTGxiJ/PVEobu5joUqrffv2MJlM4p5SFXX9dLq8+2+qVUrYHaLX45bjZeTt7S3nSGWwc+dOWK1WdOnSBRcvXoRarcYzzzxzy+p7gZCCNxJckx0pqPnWTjRaFw+n0wmV1gGFSosaPm6Yv9kfx4IyEbJlLQ5EswWw9Z45YxqUatfCThxJgrcqEaMmz0da+GH8s+w4G8oqqjkEP/35L3JCjmLkN0uw90wM4p3usKQcxbppS8APUPsnFrzR7T///COnXBdz80aCa7ydrd/rO9D48vrZL6/f3C3BOB2Rjc3zVmPT6WSEn9sjCjcoIREnQhOx+eBJeHmYcT7HirOZVtRwt2Pu1l1YsnU/tqybiKUH0qCypSNelww3rQbLZv4h3vNqrly/XJ0Gf4+WT7yPd8avYu/NGg13GybP2IRIHw+knl+K139ahUV/fYuJs8/Dna3zzEeWscJTY+KuS/Bf8Qfe/3M0wiQfqFQKHE/IgY/5iLzka/Pqq6+KV96w5jZifn5+CA0NLfRHKiZ/f3/RSJSFDh06yKmiOexX7/q7HFFUhsrCW9iKePMg3hA1btxYNFq5lGyYM1/kUxHwiKxBgwbIzua3mSyIV8aKeFdSUjEo2D5ImdXmtLQ0+Pj4yDlCSHmLj49HmzZt5FzZKdBQvP/++5g92/WU4StFR0ejZcuWcg6YMGECvv32W3z99deYPHmyuHXh8ePH0b9/f3mKPBMPX8DbvW5HvdJssKRUtlb1MXLpLHRwhuPVN8bJI1y2b9qFNvUt0PYZgNYiIuPP7LiDJ65JUsARNOp8n5wjpPI6e/asiAh79Ogh8rm7mW5ubjh9+jT69OkDi8V1snqubdu2oXPnzmjevHmhx8crla4eifwRcoGGgk/AZ7LZbPIQFx5a5+9A5PiwP//8UzQUGo1GDCuqobgRXebvgf/QfiLtTDgFZZOuLOUp8mWFt8JNmzYV6enTp2PIBx+jDj16n1QS/AfNf4/8j8ttKPjGm/9uk5OTL9fvXEFBQXB3d0f9+vUL7XLmNhz571usYAutWDvShJAKh46ZE0IK4edP8MgiN6q4rjOuQmJT0PmN32GyFNxFIYRUDXx3hh8l40cauVJHFHe8+wdyDCaErhiNR778F/smf467P54EL3cN3LUaDHmkJ954vK88NSGkLGw5cgFbDrkesn2j+C995o+lO904IiLi8nlL/BmDvLOjVFo/+4XU8pnPRLrvkM+kzk+/K20/dErkWXQhdXv7D5Ee9etI6a4+d0p33tFb2rB+vTRtyhTp0YceloZ/PUy6p+9dUp9ed0gpycnS4IGDpN49e0nvvP229MC994n0fXffI8YPffMtsawb5evrK16jQv3Fa1pinGRnrzvPRks29urv5xrv6+cvRQcfk1Kz9CLvFxAsSU6T5C/P7+sfKF6L4uvrJ0UcXM1SVik0JlXSJYZLksMqxvmFRIrXooQE+IlXP/m9UuLC2L8Wadcpfyks0DXOzFY6ITxApEPl6TOTYqWEiCDxeYqybNc5KTQwUIrNtEuRoWHSLr9QKSXHzMbYpMj4DCk6PEwyG7PZe7uW6XvJV7KkRkj+ESlsvoLrVZSoEFfZZqSlSHpWqIvW7GQrnCkl5dil0LB4yZAeL8pXspulkNAoycmm9fV3zeMfGCpei3KJrZcuOZqlbJJVly7KWXLYpOAA1zoFyt9fRk6SNGPWQpGuLGIuHJVTeb5aXbisNx44I17/mDRdmn8xRaTzSw06IqfyfDB5tZQop6/Ey780wsPDpYMHD4o/0Y8pDy9Rk0fflho9/Kacy2OzOwo1FCxskV5/5VVp86ZNYtiEceOkLz//QqR/GzlSevftoSI99K23pPfffVekP/nwI/H66Ucfs2HvifSN4kd0HOzVZNCJfJqe/0jYz9BmFwWm0+WIfI7eKF4tVt58sOF6A/uXz+mSo3M1IEXJYQVpt7iWbTS7lmG2un7COoNJvBbFoHetW+66cFZWpno2XM+GmSwOySF/uza2SkZ5elbE7HMVv15s11AyGgysMWB/JpNktbEfnPyx9EYzG84+t9O1vpyOlRfHxxnlMssdVhSzvA5sldlnt7L5WJ4t02SxS0a2nLDjm0X5SM785Zn7mUso1xzXdCZWlpnhZ0SFlWx6Vi6u4bmvvKStJtd3WJlM3h8uzffnda1ouQ2FWe8qK6fTKoXsXiQZ2BdpsrsqRnxqtmRJ2C8lZrqWxUvaYbOIdArb+OXWf+56G4pr6sxMSM/GY18VfOQBaygQsuwXOUcIKUuv/zwNmw6Wza4HvwFkzuG5cqZ4V+560FEPQkghVzYU1ec6c0LIdaOGghBSImooCCEluq6GYvDwheLVmROJ1efjsXD5Cnw1ZjZgScSRGPkutkyBzo+0U/hl7gmc3zxL3MR2xMh/8O/oESylZ/PFYc64WTiZYMBfW/3F5Fc6EOa6044+6jTmL5yM7QtcT4reOXoYli1bKtKEkJuj0nVmZkWeR06DnmhBt04g5Kap9J2ZtVpTI0FIeaM+CkJIiaihIISUiBoKQkiJrqsz024Ih0ItPwmDEFKhKeAJpVsdOVc6dGYmIeSa3XhDoVAiUZ8FR3Y4Nh3wx6L5W7B1+hhApcGWhRP5Dfgwd9yXYrp5435jb2jChnV7WSunwN/fD0X0qR24GOW6x9/8cV8j58IaRJ/cjK1z/sOq1XtwOsYCJVuGKuEQ5v/5rZguM/wUDlxMwvptm0V+wfhhUJliYM+Kxe7ty7Bi4iwsXXVUjEvSqHA0ToVV/40Av2eoMWgLe5+RbJlOLJyzDpOHD0FOyDEc9U3C8kUboE/wxbGQDDHvqik/s8hJhfl/jUZW9F7M/XMEJn/zMrZPWYCtm3chxsyiKqUaVrsTfuvGYM74CUgLPIy9y6aJ+Qkpb2HhUUhLL/w4hhtVIXc9ti6aAnPd3hj09F3ykNKJProa+y7kYOj/Ct6cQ6VV8zuFsv9v/ikjh1dPR4yjDV57+XF5CCG3VlnselAfBSFV3C1rKCSbDnZdpJwjhFRkmjrd5VTplUlDQQip2uioByHkmlFDQQgpETUUhJASUUNBCCkRNRTVSPvBo3Ds/CW8PmMPlo4fLw8tXqb8Sqo3aiiqkdDVv+Kent1xJiAKPh4WWOJ2y2Nchq71Fa8H0oziNdcTIzeJ19HHUsUrqX7o8Gi1JiEuU489yxbg7f99Jg8jhM6jIISUAp1HQQi5ZtRQEEJKRA0FqfDCwsLkFLlVqKG4xfi+oMOaDUt2OKyJJ+F38jCWzl+JXRfT5CkIufWoM5NUeDyiaNeunZwj5YGOelQA2dnZMBgMco6UpEmTJnKKlBdqKAghJQoPD0dsbKxI9+7dmxoKUvGFhoaiffv2co6Uh5wc17N+c1Fn5q3G2unDkSY5Uzp7Q+xyqnpQKBRyitwq1FDcauxHcH9rD9gdDpZxBXd2e8GGQHLycS4Ohx2PtFfLOULKBzUUt4DT6ZRTedQqFfvXteVUqws2BAolH+eiUql521KtKPlzFsgtRX0UhJBCruyjoIbiFmgz8HuotO5yjpTk02fvwhevPiHnSHmghqIC6PLWH6IT81az2OxQKxVsdyZv16Yi0mVlIGbTX3KOlAc66kGE2x8fhAaNmmLkV5/j7G/9cGTRt/hnSAecHDMQdgeQ+WB/mMyd5KlJdUcRxS1QUSKKyoIiivJHux6EkBLRrgch5JpRQ0EIKRHtetwCGRkZcurWq1PH9ZRrfi5oQnImmjesLZ/2VTHXk5QP6qMghJSI+igIIdeMGgpCSImooSAV3ldT1skpcqtQQ1EFPfHaN+L1oh3Yd+AonJINxw7tFMOmffcVHn37d3w694zI807MUct9wR8ieHHVP4jeNRarpnwnxn0z+5R4hSkRWxZMgD1iB6b9/DGW/vY/fPHs7Rj4xlKMmrERMTrq5qrqqDOzihvx488YO2a0nCsbaYGHEKLsjHs61pOH3Fw8ovj704FyjpQHOupRAYxdsgvH/SPlHCnJkp/fQg1Putq2PFFDQQgpER0erQBct70jpfXNtPVyitwq1FDcAq7b3pW9SxunYOa2czganCIPyRO+/nM5lScox45XvpjBUiyoTDrqGsi8+/ogvDjo6n0CI94dK6cKOp8uJ24Cu5OC3luNGooqZP2+S7h4+gxOh+vx6bCfsD9LHsFYdUn48Mu5+Pp/r4j80x16oZ31BJb/8xEfi4hMK3t1zZCU0hRr1q7DJ8N/wxI/B3766Wc4jXEY+dsfSEs+h4+Hj8G+RX9i3JxdmPvHt5h9IAwWJ7A3TCfmJ1UP9VGQCo+OepQ/6swkhJSIOjMJIdeMGgpS4dEp3LceNRRV1OHNC5B+agEG/boLx6YNwFf/Hsa7n7tO7YYjyvXKxGwbgSW+Vnz36st49p1pmH3WhFgjMHN/DJBxApbo/Xj7y5E4lf/h6/qT7B8LDv79FXulp7JXB9RHQSo86swsf7yP4p9//sE333wDq9VasKEwm824ePGinKs4+vbtK14r+vrp9XqcPn1apCuShx9+WE6RymLz5s1yKs+AAQPkVPkq0EgEBAQUfuZlBXjIpcViQdeuXREYGFjoQTUVYf14a9ulSxckJCTAx8dHDOOrVVHiNH9/f9x1111yjlQGuY0Ebxjyp2+Fy30T/MnZGo0GLVq3RIf2HdChg+uPC0zWi9c8CkiKgt0aaqUD644Eybn8FPhj7J9QqJVI9V0shpy/KF+2fIXEmEj2w3L9svgDaXMbAHd3d9hsNtGAtWzT6vK65a5fUFrB/eMDG4PllItKyy+eBg5Fm8WvV6FWQaVRiadjcfacaPHKnQ88L6eKl3/93NzcREPGGwg+xNtdi0e/mYOkTFe5vfjM01BKcWwe1/T58WWo2eC//vcKwg/vloe6qD2u/zRHvn65D/Xt1q2bePXz80NoaGihP1Ix5W5wrvYw62vx9NNP4/nnn8eaNWvkIVf32eef4+FHHpFzeS7/0nkFEthv1BacAsmadw1CltmGZesPYcve0/BSJYhhDkMCLq74AwqlDelWLXYvOIEhj7bG5A0X4B+bhInff4UcbS3enGDgfU3x15T5bJ4oTFm0HDnx/tCHnUfcuW1IltzgYWI/atboNG7R+vLml0cMBoPrx88bjj179oi0WL/QNPZP3vplm+1YvOEYtu0/Cy9lHJKcSvZDdYgf4KyNp9miTTildyLVAsSfXIzTwfE4fS4c6zcdx4qTOmiVZig07uxL0SIjOwNbFkyCr0GJEd//iTjD1b8gvn5Go6vx4et34sQJkc42soaI/Th/HHwn5mw9LobV6tQHDrUeqzceQYqHD1TOHBzOykLA/JexcOtF8ZGfeelZZBjSoGQVQ5W0DZ/+Nh9KtQVjn5uCqMu3uC093uDrdK6zI3klCwoKQvv27UX+SjzSIBUP//54FHGjT3CPjY3Fhg0bRJ0oTlh4OLp36y7n8lze3cjdojRv3lxsuR2pBqjqe4nhbm7usFhtbGIHPA1BMHjxR8spoFRp4HTwU31dNGwLPfd4It7s0wBarZqF4fw2KOw3o1KLH5XdIbFpFHCwqMXpcECtUrJhTva754XgFIWR22ry6fmq5eZ5pMMjiRYtWogttyPDBFUdj8LrpwuApXZXNn3+HzdbV7Zs3mCZbBI8PFhhsU/t5O/tZOvIGiitVgMNWw0zW2cRIShVbD0drvFXkX/9+LIbNmwo8nzWHu//w14l7Br3HurX8oanlxeMBhPcPNh6moyi3BRsuU6lBqxURBnwacxmC7w8Pdg0JtF8Wy2sjNxZmbDXa92W8LLi6+OQLzjju0R169YVjQVf9/z4523Xrp2cI6Qg0UicOnUKtWvXlgdVXLxj0NvbW85VHHxL/Oijj8q5ios3GnwDYOKN0BVq1qwppwgpSJGWlsbbCTlbsfEtXkVcVx7ZVAa87HjfDiHXQpGTk1Nmvzq+D6XVauUcIaS88V3JK49Q3qgCjQRfON/3v9LVtuB8GJ+e75Pn7vfm9sZej7i4ODRr1kzOEUJKi/c35W6ck5OT4enpKdL8t8kjx6tFutcSlV/uNuUnKvE3uxq+sNwORI531CUmJoo3Gjp0qDw0z9n4IKz12+/KSJnsn7zlDpq/UE4VlHsl2upI8VK8hLwTTQoe7Cy9nGvtCSSkAuL9dMuWLROv+fHfK+9n4kfgco8S5uKBwO7duxERESEPKWjHjh1yyuVyI7FkyRJ4eHgUOkzCGwL+l56ed8yeRxBNmzYVjUrPnj3loXkenPMphqz81ZVR1IYzww+95m9z5Zl/l07Fi8t/xMXD0+Qh+bAf74krd5ttWchkwcqltXPhyDwNWHjkkohx/f6AiU3L7wJvMUSjR5O3sSfJNYs5bq8rwfy4JgKTxz0n57LZ8tJRg33y2BwbzmxdiYyoI/hvgy9WH3WdL3GJ7qtCKgnekf/yyy8X6tDnEURMTMzlo4H58dMJevXqJTqwrxYYJCXJPyJZgd2NefPm4Z133pFzeVJTU1G/fn0555KdnY3Vq1fjvffek4fc2O4GP0+Dn1VZHBPbEwpNyUL3JrXkIddnt18SHuvaSKQdFgNWLluJV4fyz52IGdPX46OPPxHjCKnoeDTQpk0bhIeHo23btgV2N3h0wRsIviuSf9ciKyvr8kafz3OlcePG4bvvXM9r4cq04/JGGglCyI1LSUkRewRlSaHT0SObCCFFK3CBFyGE8CYh95R+7nLHJSGE5Jd7VIQaCULIVeUeMbmuRqL722Px/I+z5RwhpKrhh0b57Q/46zU1EjEp/MQowMn2WeJY+p5P/sZR36ufkEEIqbz4Daj4n6+vb+k6LvkknV79FTO/fR0P9eyAC2HxOO4XgVX7zotLwvm9VLZPoHMLCClrH46ZC8W1307kqv435HF0a1vypQ/893748GGRFpdc8EaiJHqjWWo/6Dtp75lAeUieJ4dPkzq/8buck6T+j/aTU5J09OgR6e4+d8q50jt//rycIqT6OnYxRE6VjTd/nianiud0OqWDBw+Kv3379kml3t2w28xg84p00wdfwZ0vfSbS3p4FT/nkh06efuJJ7N65Cx9/8BF4M/je0Hdw311347FHHsWxo0fRo2s3vPDsczh54gTuu/sePHT/A3jz9dfR75FHxH0s/xo3Xl7aDbBmIyo+E5GhUQiOiEVWfBj8A4JgNUQhMyGGNZEmRKfokBodBn7zqVnLdiA6SYfkqBDwk77jkzKQkGZEUkxosTd8MWUmIMcqgd+sPijAdYcnsx2ITMpCfGQIlk9fIIYVJSQiEU5LDhIyTYgNj0RgSDhObFos3jMgOAz69DhERMQgKDxWTB8cFoPMxEikmwG/wBAx7KrkmwFJVtc1MZb0GPjLdx8LkF9To0OQkM4+s94ByZSGNFYQc6fNFeMCQ9n7SUZRRsUJCApjZRAHP79AhAaeRI7JDj9fvnwJYaGhyM5MgplVm8ikTCRFRiAjPlxcyRMTGijmL4o+NRYGVq68fz08OhVpOenIMjsRHp+KyES+2+tAeGwq9MkxCAkIRlRyvoeiVmCvfToDs+dvQ8aVlx44Cz5F60pf/LMI67flXWqQ61iqE+PGT5dzQNbZFfhs8mo5VzZK2UhIcNgscppfjqqE3lj4xiUc7xHdumM7Rnz/vcjzSGnO/Hnw9vHB7n178ftvozF/4ULc2fdOTGCNQYcO7XHg8CFxltieffswetRvYr4bNWf+OlzYvRJHdh9Cxzb1EXdxP7p07gSnQoWwUwcw/0ACWjbwwYFwExYuWg21T1PsO58A71YdcGDxdJwMSsahNSuREct+uIlX3uMzT7SlAWpoFdCy6typcxdMX3Ua2exXcNQ/HrVbd+A3wCrS3Nlr0aFNY+wIyUIDawzOsvJp2SATbRp6I2DvKvhY4pAUdBT79x5FM90ZzJ8+FZfOn0Sc/xHUdQfOnzgoL+lqFPhv4TYoslzXo/Drb7p07YrwLCP8WUO8+3w06rfsgIuxDmxeuQjzN+zF/m1roFVoMWvKTPhdOCEamr17joj5r2bd7H/h73seutiz6Hpba7S/rS1qZJ5DYFAg/BNNaNe+PQye9XFs1Xzsv5SCE7t2ISspGpeijTh5wQ+rVm2Sl1SYISMRxwNikcbSh04GI8LuhsTj67HnTBRaumVjwerDaNukJtKDT6BD545o1fDGTtUvL0unfARdUDAsCtf38s20eRj1wwqRnvntv3jru3kifaXeNYFToWzjxhj0bMOid/UF8vu0atRqnGI/x//O6aFQqZGUngNflj8dEYetlwLZ93GDtyeUI4xi6Ywmqcmjb0vT1x+Sh+R5+It/C+xu9O3dR7z2e/gRqXuXrhKLFET+8X6Piden+j8usQhDpAc9/4I09M03RfqD994Tr68MeVl6/eVXRPqG2C2S1WySFk1dJBnY7tKlrbMknc7AQim7GM6CKslkdUgmg14ymsySycheLTbJajKI2c0sbTIaJTMbXhwnex+7k70dS+v1OjHMoNNJJja/hS3LzMquOAaThf3rkCxsIWb2fk6nleXZAhmTmS3bapKMbBlOm1kM0+kNks3iWmYO+zxFcy2D/8t3F50Ou6TLca2fnq1fLovNyZZvZKvAPi8rD/5+HH8f9uHEsOLodHo2K1831/tZ7Q72PjkizcUZ2Gdir0aLXXw+XiZcSeVqs7jmM7AyNZmt0snULFHOMzeeYmXLS5st02xjX7NrfY1smsomO/GsnLq6/Lsb8WnZko6VZWa2XjI42XfCvhvOanKV4+E013fqsLrqCftapaysbJFOznB9H9e7u1Gqjkv2fuj21h8ibbXbEbLsF1wKT8ArIxeIThW+iIDFP4nxPMTMyMhgkUJfBPj7o3OXLmIYn6Z9hw4IDQlFrVo1xW4Jf2d+k4xWrVshOjoaLVu2FBesKNh/rdu0FssjpLo6fikUd3e/+s2Lr8dbv0zHwt8+lnNF47/V/B2X13Ra9sNf/ouUjIL7qEMe6YVf3n5SzhFCylKN+9917bOXga9efQqjPhok54p2Q41ErtYv/Yoa3h64OM/V70AIqTrKpJEghFRdVzYSdO0GIaRY1EgQQopFjQQhpAB+Tk1+1EgQQgq4spuSGglCSLGokSCEFIsaCUJIsa67kRiw+gJe/mk2LCGHMXzNceyNMeCzsUVf8bj6Ypx4/faHP7B70SSWcmLszI3YeDoVu4PS8fv3w/H+22+JaTgp3xPDArb/I17/2RmE4d/+CMOFZfhx8koxLDv+BL4fOVmkCSFl7/ojCZUGy35/H0qHDjXC/LBweyD+G/G2PJIzyq+cCbVSAnEiIRvjR76Bc+6PIPbCZgxpEwf/qHRkWxz46c+JePuRHvL0wIUNvCFxsUg+SDy7BhHpRkwcPwZ2fRJerM8vzgbspiyMeKqeSBNCyl6lO+NyxbKlePnV1+QcIaSsXXnGJZ2WTQgp4MpGgjouCSHFokaCEFIsaiQIIcWiRoIQUixqJAghxaJGghBSLGokCCHFuq7zJOxZAXKKEFKRKdxqQ+XRWM6VzpXnSVxXI+GwuK7DIIRUcAoFVNqmcqZ0rmwkaHeDEFIsaiQIIcW64UZCpVSwpajkXOmoVEU/beRqY/hTvkoi1qMUrvzAKq1WTl0//mxUQqqqG67d51f9gmmzN2HBxG/YD84JlUYDaFTYOWsS5k1fjqzIMzgdmYPzG+Ygy6rA4onfYuPeGKRHHMDRKCfmjx8hlpMRfAJ7TkQgjjUI8yaNhVnSYcGEb8S41VP/wo49u5FsFlnMn/AdVDlB2H8mE5IlC8sWbsaWCwmYO/57BOXUxJoZo8XNPJOPLoJS54+l06diw47zYt6t+9Yjy6LA6n9/gEIXjk0bz2Ieex+l04hVOwIxb/wXYjqlwopFs5fj5Jo5SDMAOzZtRUZGPDZuuAhj5hnMG/cttkydAv9t/2LRigM4tm4W7Aq27hN+QRZuvOEh5FpZbRIyM7PlXNm58Y5LhZI1DqxhsNkQo3SihdINDtix6c8xaNdJg0MRTfHMgLvgl25Aj4Z14dmyFQ7vCcVzj3UETPGAewOYWFPl7lRg9shv8cTIH9ECNaG3psFTXZv9eB2YP24kOn8wEsGnYvH6E83ZD1gJvS4QHl5sGSx9bO43SOz2OV66twUupvqgW209HOxjJe+dgmZ33MMasSPo18uOto98gYtGB47N2IhHB9+BujUaokF9NSSHO0wmPTzd3BAbEY66rdrDb8lY9H5zBA5EGRC+aAHu+fAzhPhG4YWnOiAnfje8avfGmomT0b6dA8ez78DH7z4Ff5MR3Xy8kWpToQ7ynsJOSHnIyMhGjRo1odEo8m5mWwYdlxXu6IZCpcHm+RPw7FtfiQcVX4tNSydjwJtfQeEoON/UP//F/77/XM7dPAqlGpsXTcRzbB0czmsuVkLKXlVsJAghZYgOgRJCbjZqJAghxbqu3Q1b5iUWk8gZQkiFpdTWhMq7pZwrnSt3N66rkSCEVF1XNhK0u0EIKRY1EoSQYlEjQQgpFjUShJBiUSNBCCkWNRKEkGJRI0EIKRY1EoSQYlEjQQgpFjUShJBiUSNRTUjZsVh3PAiD3h0p8usCUsVrce4aOlpOkeqMGolqIjGK38lLg7VzXY2EpHXHzDGTsOPIOXR9bwIyjq/EryuPoMuzP4vxl+WcxFczduKx1123GSTVDzUS1USTHv3xZPe28D+8QR4CHKnTG0/c1wsaOFhOwqgh9+GTJ2q5Rubz90ePY8KrveQcqW6okagm9qyYjy1ng/HbogvyEKBjxGEEhMXALKnlIYQURpeKV2PvfDIJE8e+j2FrfTH/nXvkoaS6u/JScWokCCEFXNlI0O4GIaRY1EgQQopFjQQhpFjUSBBCikWNBCGkWHR0o5zl5OTAw8NDzpGSOJ1OuLm5yTlSHq48ukGNRDmLj49H06bX9tg1QsrTlY0E7W7cQuEBfjh79qycy0dyIDI4UM4QcmtRI3EL+Z47g9q1a2P6sm1YuP4gjoTZxXBJkYXAc1dpPAi5BaiRuIUcdjs0Gg1qtWiL+s1awmKzISMzS1xuxccRUhFQn0Q5oz4JUtFRnwQh5JpQJHELJCQkyClSEqVSiUaNGsk5Uh6ujCSokSCEFHBlI0G7G4SQQvhJbPyPIolbxGq1yilSEoVCIY4AkfLDmwSdTifnqE+i3NHRDVLRXdlI0O4GIaRY1EjcQhuWLkLsuR1yrpRMoXKCkPJBuxvlLP/uxobF8+DRpCOchlRY6nSELTEQT9zdDpGmepA8bcjW21E36iS6PP4iti9ZDafKhqcH3A14dxTzE3IzXLm7QY1EOcvfSPDeY34egOR0QFIo4XQ4oFarwb8QiY1TKHjHnRIOhyvNp3Wyr0vJM4TcJFc2ErS7cQvxHz2nUKrED583ECLP/vg43kBwKpXy8rTUQJDyRo1EOaMbqJDKhnY3CCEF0O4GIeSaUCNBCCkW7W6UsyydAX3enyDnSEkUkBCyYpScI+Xhyt0NaiTK2fTVuzFl8yk5R0rDf9GPcoqUhysbCdrdqKasNjvsTkmck3ElCxtHSC5qJKqp/SMHwWC1wOJUYcJXr6GG9T78/f37otE4tfRbnJv0IcY/WtM1ManWqJGoppZtPYW4VcPhWacOPpq8kTUOTnw6ejps8vht62ahT9+uco5UZ9QnUc4qWp+E3abAhj/fxaCf54gzPSsi6pMoX9QnQQpQayS8WIEbCHLrUSRxC7R74Rs5RUri7qaB34o/5BwpD1dGEtRIEEIKuLKRoN0NQkixqJEghBSLGglCSLGokSCEFIsaCcJISEpORVZKipwnJA8d3ShnZrMZRqNRzt1a/C5ZXl5eSI2NQv3mzZESHYMGLVuLcRkZGeK1IqhTp46cIuXhyqMb1EgQQgq4spGg3Q1CSLGokSCEFIsaCUJIsaiRIIQUixoJQkixqJEoZ/GpWXKKlIbOZJFT5FahRqKcrdx3Tk6R0vDxoCee3WrUSFRBOr1BThXPanPCYeNbakkcG+fynzRjMenlFKnOqJGoYqyJp5BuUyLn+L/4/ZN38Mr9ndDnqY/x9og1rvHIwqE9q0X630+H4J1JG7Fj9LN4aOQK/DprPcbM24aT6ayx0IXCzcNbTPfZz/9gtV8Wxi/aghTWimzZcwiJTjYi5TTmj6Mb6FR11EhUMWmxsWjloYfWzR0XsnzQpE4t3HnPy6gZsVuewokH+g0WqeGTx2Lhdy9hbp0f4KlVo1WPu/D60KfgH2uFwqcdzkVmYcCQ8Whx5+M4eyYMj/V/AkHJNjzT7wFxuzv/nRsw9LufxbJI1UWnZZezSSv34eshj8i5myvi6HpY2z+BTg085CFl44cff8AfY+iWclXVladlUyNRzsqzkSDkelAjUQE8O2KmnCIl8fZww7Jf3pZzpDxQI0EIKdaVjQR1XBJCikWNBCGkWNRIlDM645JUNtRIlDO6doNUNtRIVCHPPz8QsKbKuYLyn6j97hu/InLHJJay4ez2dTDbnNgSlHdPy8EvDkaOnC6NpNMr5RSpiqiRqEIUSgkwJmLme88iet8/eOajX/Hxi5+Kcdp8V2X8/UktzDrZGKfn/oA9O5bhz+3JCIxIxteTd4jxNWrWgLdND1PUOnzz8nuIDY3ART3w71kD+NnY0TqrmA5IF/9KdhPe+mmJSJOqhxqJqsKRg9at27GEE0O+/hhbz0TCXLsZPByFv+Iad3+F7359BWMvdoDNYsapJT+gWdN6LApxXZY9d+5cOEwpWHU4CN//+CwmrzyEJaN+wAvdvDBt0lg099Hi559+ZVPWZa8/wmG34n9tLoh5SdVD50mUMzrjklR0dJ7ELUYtMqlsKJK4BXIMZjlFSqJUKsSp2aT8XBlJUCNBCCngykaCdjcIIcWiRoIQUixqJMrZ5FX75RQhlQM1EuXMSV1ApJKhRqIKeuX7uXjpjQnYF1H4btdbfh0gpzi7+DfBCozdHsFSwYjc9JsYxp2a/xXO71oBW8h6jBv1KZ58a6o8xoWO0VQP1EhUQYt/fBYWtQYenl7ykNzTqNkXrtbit/WB+OrDv1hOjZMhx/Hp0H8x4sk2/B76UKjUQOZ5Me3+lj/gj7mboZZM0OVkw91Ni3FPDsScs2n44vctovJ8Mu6omJZUXXQItJyVxxmXASf3oHXfftAZJezfugFDBj/Hhrq2B/GXDiC1Zg/YEhPR567O2LznEJ7s1QTqOvyUbiA5NgANGzQE3OqK/OpNuzHogbbIzMjEpWQf1DMmwCRlQ9XwDtRQRqJ9l/vFdKTquPIQKDUS5YxOyyYVHW8S9Ho9Bg8ejFWrVtHuRnmjswdJZcAbCt5AcMVGEmfOnEHNmjXlHCmOzWZDu3btoNVq5SHA6dOnUatWLTlHinO18tu3bx/69u0Lp5NfoE6Kk56ejsaNG8PNjTZChNwsO3fuhNWa18fL2e12qNVqOefyzDPPQKHgjzCrPooMJvz8/C43TC1atoDiUAycJhsUHlpIBgsUnlq4PdYewcHBUCppx4UzGo3o2rUrVCoVfH194e7uLoa3bNUS0oFoSGZWfqzcJD2V39XkL78jR47g9ttvF5Evp1K6fph3fz4Nwwc/gMEPdIfN4RDDiEtMTAw6deokyo8LDQ29XH4ladKkCby9XY9/JYRc3ZXBhMlkQs+ePREQEFCgHb9VwcTChQthNrvOT3n++efRsGFDkb5Wa9aswYsvvijngIsXL6JHjx5y7uquuhULCgq6vCHkeHNkPh4N9wGdkfXzdmgfbQdV+3qukTKV1oHj0ZmutGRCUEgYJFa4kiUDUclpMFt4w69AyJa1cMCJ7Mx0JGQVPilHoVRj345lcNOo4GZNwaFwPTLZFxYSHsPGKZGTHIV4Np/DZkRaYiRYfCPPp0LI0SXwcNMgNTYCaXobYg+NhJI1rPERITBIGuzdvw0aWyacbFhyTBiSsyyQrHpkJ8XCzPZ+o+OSxeNw+XqGXYq6XBmkfHvGvKFevHix2JNesGCBPNTF09MTly5dEuXn4ZH3FE5efpaTMa7yG7ENbv3aQ9W2jmukTKW142Rctistlx+rnSwASUdUSjrMVgeycqzIzjYgIoxtJBSFvzq1ewbWLPsHarbhDdq+Gmv8s2GwOCE5rNBF7kO6XY3Nf89GnNEdixZcYN9NDoLColhUrYLekIn4mEuINNZAEitfkyEN4SGhUGo9sefEXth1KQiOiGflrEBWYhQSM42ANRshkUnX9KPh5bdo0SJRfvPnz5eHuuSWH+/R6dWr1+UNod5oRpc3RkPDov9VP7yEQQ90w8tjlmLUol3svcUk7LNbsStJwuZli6BhZWl1ZuLX0ZNhZZ8xLvw8ss0SbPpUHDtxBmqFE2nJiQiKMyDozClY2c8gPSJLfPfGxDO4YHeHimWMuiz2+dU4e/wkYjKzobDrkBx9CWk5rlPRtD4JOBqVg8yoVJw46y/XnZuL7wENGzZMNGhfffVVgbJv0aIFzp3Luye7xcKCVja+NH9JSUmiYSSElB5v53l7f707hJmZmTh8+PDlP74Tdb34xv6tt97Chx9+iOPHj9/QskQgwdpf3jZwJQUSXKESCAsLEw1+gT0atjzLgXBY9rENHKP0ckPGK0tFOj9DTjayjRYsWbATzRr64MCZWExedwl1nTE4He06V5hvmJ2GJMSiGUynf4G8wym6t3lScjrQnH1BwYlZOH3gCLp1bIAJa06gnjMKcZkmbItWoJ6nBpkxZ1GnVSesXHxEns8Jh90OlT0KYSYv1HBjG2KnHfq4c0jzbA43hcQ26hJWrDwGe5I/Iu01EX9uA1SpZyHVa4WTG7ejbT0dCzr42kioW8sAM9vgWc0sCpXXMRfvdufre7UKxPfuoqOjL38JAkuaWdlZDvFzoFnWU4uM15aLdH68/HKMViycv4eVnzcOnkvA3+sCUNcRgQtsw7d1dxT27zjN9j5bYOdB9h5sHqVKDS0LBlyc6PbEJ1j/359o/cyrcEhq6P33YtUlM3zaPo6l08bgue8+xckVv+P193pj/ZZdaFJXgYOxKhwJjEADbyXbMB6GXqHBjk0z0bCpD3aGmtjnBdbPOohGFhZspKfjaLo7anm7Y9nUfWjRqFap935zFVd+vOw6d+4MR75eB/69mXMyEJeajVo1vOB0OMUdfNhXWkBCRCh0CVkwIhyxNRqgXp36SAvaiUbd78VvI9Zg5bwf0b2dHTuTMrFmXzbczv6A3g/3xao9Z7Hyzc3ix6D08UatzCT89PYC+B3ZguD136FGu0743x+/Q5F2BN4d7sTUsctYuYtaB2gkrP7pNO69Q4HyCCd4veLlx4P9q5Uf75k4ceKESPNeHt7bU6AuFoF/h3FxcYW6cAkhefhvrzR/pVW7dm3cf//9l//uu+8+ecy144c6u3TpIv74UYVBgwbJY65dv379eGMj2gXeJvAbIJekwGGO5ORktufL9sCuaHyaN28uGi/b+QS2a8newGSDtnczllaW0E2vQGJ4ELJVtdC5TSNWyNe20RHYuqToLGxDl3csvaLj5cfLpWPHjuLL4HuM/MsV5adm5Wfk5ddclGVJ5RcfFgidpg46t2qAay0+lWRDUKIRHZrU5Ju90mPrn5OVhJo1G17bfDeIBxK8R0Kj0chD8vDDHMmZegwZvQQ/vvYoHu/dsVwOczhY4LvvmD8eePwJuDnlbrAKjtcnfr7Tgw8+KPJnz55FjRo1RLokvHeie/fuco4QQkrncjCRmpqKnJycQoEEuX78vBO+d0hKxgOJbt260QmEZYgfLnrkEbpsiBBy8ylYAFGeO5/X5MozZAkhhJDqgu/r5z/kW5FV2GCCn0DSv39/OUcIIYRUP/z0A35yekVX1MF6cXnJe++9d9Xj11fDD49ERUWV6uSTr7/+Gt9//z2+/fZb/PXXX+Ks9NzL2Yozev98DFj8DezOwpGazZgGv+Ro8cj80Iwc10BZUr5bdJUGv8wnjwP6GzhUbjEZXAmHDXaLEbZ8oVtCZJqcujYOSzaMpT/HpyDJAYstb+a0THn9SuC0m2C53vckhBBSrNdff11OlYz3WPBDwiEhIZevvOT3uygJv1ouMDBQXDaemJgoDy0ZP0rAt9vFHS1QjRgxYqScFvhGnQcRJ0+eFCdt7d69W9w8iN8zk58pfiV+wiY/i5Sfb8Hn5dPxy12udrMmfhnNSy+9hHnz5oljuX369BHnFDzwwAMFLqXk+Jnlbdu2lXPAlBNrMGLXDISkxeL3Awvx6yPvyGM4CXOW/Yw6rZ5E8xpuuG/hNjzncRGHMt0QHpyK8VtGonvzthh3yA936vfCH7Xx0/o9aJe1Dn7mZmhZtw4/5/Ayfv5I/fr15VwG3li1B/Vjl8G99f34cO4Y3NOxDybM/wydOj+GthM/x9Pt2uH9bQFQx26GomYNKK0G+CZ5oLFbOi4ZaqKJlwKLN/mjp895/LAzE+qzM2Ft+yCWvjgJzXpFY2eCBspNn+Kcogcmjf0BTz/1EA5dCsNn30/Byw9543/L4nHxj9eh73gHvpi8EoNvM+OUvR1aeQHHFv6JWHjjXLwXlkz5HnXq1sTE6YGQNjwNa+sH8L9XPkan9u6YE1YLD7T2xublW9HY4YdMZS1k272wfO1RdK2dgYtJTvhtnolaPe/FP5MXol19C85meqFVHdf3Ys0KR6C9HpZMm4XWjdU4EiOhfUMfMY4QQsi141db8SDirrvuwtChQ8W9Yj744AM8/fTTl3fkDQZDgZ16HjSEh4eLPx4U8Ms2//vvP3HyOt/Yy6dBFsBPyuaXimZlZYn5GzVqJDoM+HabX1FSEj4/jwkeeuihIjsMCvVM8OMz/Pp/fiUCv8Tkjz/+wJgxY8QNMK6G3yGzadOm4o93xfBoqVWrVvLYgviZ4jy6+fXXX8UH4vca4Mu+2oe/ko8bf8KEAmqlCrXdr9iIOXUIMikxf+dsZFlZFMU+Vf0m3bD68AzEKzxg9L4HHZp2QePMi/Bs3Qt/bZ+Kpk1awa6oiUc6tb18eepVSU680OdZPPTA84hwKPB6Uw02xxrxWMsm2B6fggZejfHDjpn47L47UF/S47cdq9iW1wmnUo2VlxS4o74SGxeswxvPd+e796gZvQr/HjShtY+KfUEKtOk2ADN++ZNf5IF7enXAEz4dYMi+hIksxmvkL8HCAqXnn7wTQ9/qiid7dIODH5ViX6zaDXjsz41od0df/P7dN3Cwcu/TRItvvv0bT7/SFxJ7/86duqPDkBfQ7e6H4B+SikvrF2DAqwNgdHhh5469sCrs7LMroK1bF+eO7IKiWRvRs+PRoicat+2D5ATXfS8ENh0PuNRNe6Bxqx7ITr6+XhVCCCEufJu5YsUK/Pbbb5g8eTJGjx4t8sUd1uABQ/v27XHPPfeIHXl+GOR///ufeC1qQ8+3sXxHn1+Sz4MHfq98fh8a3hlQGnz+Bg0aFLutpnMmCCGEkAqqqHMm+KkFuVdfXsu9LW6WChtM8G6VCxcuVJozWQkhhJCy5OPjI3ohStN7f6spjh05VvHXkhBCCCG3DL8TMb/7cFHo+eOEEEIIKRYPFfh5F0Up8tJQQgghhJD8+Hkau3btwrp16wqchkA9E4QQQggpVkk9E+UWTDz0xb9IzdSJyyE1KhUsNgc+fO5efD7I9TAiQgghhFRMPFSIjIwU94DKj/dO8HtG3ZTDHMv3nEGbIb/i4EXXI8s5lXyfApVSCY1ahZqebliz/zweZkHGY19PwXM/zEJ8apY8NSGEEEIqizLtmTCYLOj19miRdjidmP39W3j4jo4ifyUne9v3xi9DVFI63DUaaFmAkaEzIltnwsUFI+SpgFG/jsSRw4exe99eeYjLzOkzMHnS3wgMDUZ8fDy8vb3FDbRuliGDX4LJaMSmrVvkIYQQQqqrkOgk/DZ7LeaP/EgeUrHcM3QkTi92bY/LQrn3TDhsZvHn5H9SwctI9p24gAffHAaj2SLuvDjvu9ew7+/P4e3hhtC4VKRnGyBdcTdKfrKHUqUStwHdsG69uOMXN2jwi1i0dLG4i+ZLAwdh7uw5sLDlhoWFiUd/8+k2bthQ4A5f/I5fe3btxs4dO8TdOLmgwECEhYYiOSkJmzdtEtNwcbGx2LxxIwx6vciP/G0U/pwwXqQrG5sxDof9EuG7azVSS7y3iQXBsazMHOlYsuWCPKz8xJ7ahoJVtWQbl6yRUzeXOTUaOVe57UnU2a1IyCn5vvhlxmHDpsP+cqYwa2YCDkcky7kbFxaY18NYriQLohJLd4e+q9m9YiGscrqyCAqOklOk7DiRrTeh9HcskmCxl3wTqPRsHV567C7R014R/zq3bsI+Sfkp82DCbrWIPxv7y9/ncdeQz/HysDFIzczGk+//gLW7DstjSpbDAgL+rI/nB76Ab4cNxyMPPIgTx4/jvXfevXzPcn4bbzd3N0z9bwr+99HHqFu3Lp57/nm8+frreHnwS2KarMxM9Ov/GB5/4gl8+sn/MHjQi5g08S+89+67aNioEQY8+ywee+QR3H/PvWjWvDkGPPcc3njtdQx98y1MmjARY0f/LpZzq8VHRIrX42vngB8YWjx9BrLMTmSGHMHG8+nw3T4PQXFZsJtSMG3uVhaQOWCy2mE2muCtdGLe9CUws19WZFAAHE4HYtNZwOQwYdr8tWxpOTh6MYa92mFTuiP10nacDkljy8rAzHkb2fB0LFp/QASK86fPBfQhWHGM31rbisQMI3u9NjZDPJbuOs1STgQEhcNpMYpbeq+aPQs5FicSfQ9hf6gekfsWIJkv3pKDJXt9oQ/eif3+aWz6HCTrXAHftdqwYCYyDXbkxAfB7DRh+oJNsLM6e2bXMsQb7dg4azris01IC92Nk2E66CLPIdHM1jk7ETqLBFOqH/vsybCb9dCo1JgzfR4y2XwR+5YiKAfYtXwWskwOGDLDsepoDC7tWYoLEUnQJ4ZgaxDb2LP3TM50BbXXRoLB4sD53ctxKYkVSoovNl1yLWfp7HlstAPxUfFsKge2LZkOM4tz5s9eDCv7bPGBB3Ah3oBVc2ciPi0LUtYlrNh5gf1W7Zg5c74IImeuPiaWdWT9IvBn3J04cELkD66YhRQTq0epYVhzLJJ9RzPE8Iw4V328Vhd3LUVcJmsrjCmYt/EMkn0345hfHKuK6Zi14Tjbk9DjbDB/GJEBs5fuEvOc3bwAmex1zpS5yNCbEXFyG45HsGnsRsyePptVw3T8s3g7Kx8bDOy7U7L6vGyXL5vDgaikHPjtWcbqu5m9Zyrmrnd9rmti12Hqatd8cXEpiDq8GtEiZ8T8VUeQE3EWm86EsrwNy+dMY29rxL+Lt/I77MPv0CqEpJuwaNYc6FndTgjei0PBaYg8uAoHAhNFvT9y7IxYGik7q+ZMxVezt4qHI57bshgJ7PWV0Qtw6NQB3LfUF8NG/MravGB88Nd21wxOHUZsCMbf/xuLQxeCMfi3Uu6sOLPxwvQDcgZYsnUf+9eCr/5YiDVb2Y4qa0NnbNiF18csY62rS3rIcZxI49888Nek2bDr/bGA7cS+8w9va13Sz7CdQDmdFnUWi1ZvEr/LefNXYPLGs2L4gc3r8eMs12/kVinTYILf1MJhNct/rHHL18twYuW/+Oz155GcmolfP30Dg/rfL48pGb8LWK7Hn3wSOVc5ozT/JSr5HxrWu3dv6HJysG7tOjw34Fls3bwF+/buhZNNL/FbkLJ1bNO6tTw10K1bd3Tu0lnOAU2bNIHFaoVCWXGuot2829XY8w0a3/NSsKqVlmNCamoGatXxEOualJwGQ0461DVq8y/mMol95R5KE7JNFiTFxcCWfgmXIllI4rSwBfFKrYDTmMUCONejUt28ayM5OQWm7FSovGuwBUjwrt0QSgVbDvsDPNGuHvtpmDOx6RBvRK+NSuMBQ3oybDYTYpIzRI8VX11v9hWm68xITklFHW8Ne28vxLLxwb5noOIn8Xp4ITMtGWZ9eoEnsV6LWh5KpGQakJqYAItCDTdrJgxmK1IyDPDQKCEpNGhc0wOe9WuzumJjJSchKzETZ47tQxYrHrPOAKctr0dCofZAbU81GtTxZMOBGu4axCdnwWFTon3z+qzonGjXrBHUWnc0dVdBYo3L7ovXtyHmAcNtPbrA3z8c8HJDRpQ/cpJCoLPyH52CBTCpsNjMLFji5ymxSRRGtidlZoGlN+rX8GKvKjStV4tNKaFmw1YsrwaLh9is7pBy4mFyOFGrYXOIQSzoiU/NgU8N9nlSWJDKvveOzWqhabuOolG7cGQPazKvHb9FcGx8KvvtSujUrhn7TE40atwEKq0XnE7+pSphNWXBzBZuN2RAb3PCja1rTbbOkls9Vi/YurKpUuITYTFmw6Zg7QQb4NOwDSuS3AcjOdG6KW8/LNi97zS8vVg9SpDfs30L1yTXhO3xteQPMXRi087jqMXKPiokFVF+p+EUvwcFspPY+lgMMFhdT1h0GjOhN9uQmpYj1qumxoYMVrcTE9Lh7eMhPkOb2xqLxtjhNCM7u+BTj8mNiTJr0NRLi9GLjoj2hRd4c6UeJ6N08NYqYWvUBPf26Ij67PtwcfVMaNRaPHB7RygzcocXT3Lo8WRPXqeM6PfnLgSGRSGc7UAM+/YtNM5OYd+tBdYmXTH/s75YHeYK/us0b4mVey6ylAXnjT5Qm9PhaP8Apj1bE9sT89oWXkc4sy4FPZ9+FtkBO9H7pZfx5XPt2P5fBCKa3ocxH/SHPnfCW6BMz5nQG81o/9R7cPOpDa86jVkJSOJciCU/v4UurVn+CvO2ncAfi3fCTZP3WFM1a/kuzs87Z+K3kaOwa+dOERB4sobAyjbsk/+ZjPSMDPzy08+45O+HaVOmYP68+WjYsCELBLrg4oUL2Llnt2v+UaNw4ugxjJ0wXvQwNGvaVDypzWQ2iyen1albB3abDfMXLRLTf/LhR7A77Jg1Z47If/rRx0jPzGQ/eh+Y9HosWbFcDK9ITh48gb4P3iXn2N6n3xHU7nQf2HaNkCotNdIXmuZdUIs/3a8CMKbFINmjIVqzIENgG5DDvom4v8fVH35IKq/jl0KRmpmDZx+8Qx5SmGRJw98rjqNJ19vx8h3N5aFFs2eHIM6zA1rlPST0ur31y3Qs+O1jFt6WjZLOmSjTYCLXRxNXYM/Z4AJBAmdnezt1a3giS29ie0IFP6Ld6cSfHzyLFx7oIQ8hhBBCKqazAZE45huCz4Y8Lg+pWJ4f9hc2/DVMzt24WxJM5Hc6KAbv/rmUBRKOAgGEjeVbNaqLzX9+WCjoIIQQQkjFccuDifx4AJGapUeTujfvEk5CCCGElK2SgolyPdDI73xJgQQhhBBStVSMs5YIIYQQUmlRMEEIIYSQG6JYuXLlLbwylRBCCCEVnVarRffu3SvGCZiEEEIIqXwq1AmYhBBCCKl6KJgghBBCyA0pt2Dimc9ct6fm+i0/J6dujqEDn0FCGTwuMCU8QDx7oLTMqUH4869/MGn8eCRbgIW7AuUxRdv686eX77tOCCGEVEblFkx4aHMwdOwS8efm7o5h/y4Rw/eunI+UgB3gz5387c/Z7F8Jb846izd/nI0TvqH49YdJV92gb5r0O4xX2QqvG/8t5q/bgnW/DocT6Vhy0fVAFXPaOeyLc81wbs008EeF2dP8sTMuBfP2JQCmcKw6l4Q/hk0X03z25w6EH9t39UcYm+Mxe2ewnMnjXr8Thr33EmzpsdA7JJxP1+OvUf+KcSumDkP2kUmwOIALy8YhR153tdYNGWE74K8Hck4vvfx0OEIIIaSyKLcTMC02++XbZlscTriplNAZzfD0cIdSYltYpQp2No2GTWO1O6FVK6E3maHRasW0pSI5YZcUUCv5bbslthwJWoVDPK7Zy9MdTptFPI7Z08MNFrMRktIN7loVbBYTnAo11Go1nHYHe0+2DjYHWwcFjGxeT/fSP3XFbOLL1cDDTSM+h91qgpYFDPMnfo/3vv0TCiV/DxsUao14AIvDZoVSrWJrq2JfBls5Nr6sHsxCCCGElIWSTsCkqzkIIYQQUqySggk6AZMQQgghN4SCCUIIIYTcEAomCCGEEHJDKJgghBBCyA2hYIIQQgghN4SCCUIIIYTcEAomCCGEEHJDKJgghBBCyA0pt5tW2fXBUGi85BwhhBBCbhjbhCuVNaHQ1pAH3BwV56ZVCtettAkhhBBSRpRKtqG3y5lbhw5zEEIIIeSGUDBBCCGEkBtyy4MJc9olzF9zCkqlApH7ZuBkhFEeU7achiSs2xMtnsipVGlxcs8hKBQlP58z4/waBOpKLialSoV1f/8FaFTykOujMiVg5YHwMntyqCFgHS4Yi+oCUyBo6yQcPHISiptSE9jy96+FUqPFun8nQVIW/SYqODBr7hqU9gGxhBBSlZnNlsvbKKPRVKrt1a10y5tu93rd8c6Qe/HfV++g8ZPDcX7laqhYmWWfWYQI9jpzKtvAsI3R2okjAC3bUKs02DRpLBTsNXD7X9BbgLmLDkPl5gG/FaNhSj2JM2lKlq+D+eMX4tyiX2HQuolHfmvUro/LHwMecPYiYEnG6t3BLBBQ48iM32DSaNg4DfbP+BVnz/uzZXixafSoWTMHs1ceEdOdnPsXTFIONh1KFcuZOXED2xC66K06qCJ34lyOis2biaU7YsRwhcKJOXP3i88VtuFP5OhCsC04R4zjMi6sw/Zdx2ACez+nGWovd8wb/T37qAqYI7fBL7sW5o6cxza0auyZ/iWcCtc7Ju6fgQQWvChzLmJ/tAoz/5oBlVqFmCMzkMTWgeOfR82GqdzcMWP8CviumAy7Wy22zlnYeCAKYZci8cjDPTB9/mE2rRIX146E2WLG0vUXxPrOnrVLzBu2YQz0WjVfII7MGgmLmxsrDw1MoVtwNs3GAgZPLBz1NzIjtiI4TQ3JkoGNe6MRe54HbUrY2PoYUw7hfBz7DpxWrNgcjrXjx7EaqMbFdWNhsivY5/LGmcXsc7PAzBi8FQFmE6ZNX8k+kxIRG6YiA27iMxFCSFXn4eGGlJRMBAWHw8vLU5wAWZFViP1AyelAx6694Gk34KOvnsbyKSNxQd0Pbdkm775ObMM2ewFqtmgjzlrlf3WbtoBTcsKjdjOxQR/8UA0s/utrpLZ+C14N7ob6zEIsmfQ1HnnvVfR5+xfs/u9H7D4cjbo1XRsjh92C7p3V2H3BgYdbZmPJPyPRZNAP8LDZ2LrY0eWhJxB8ZAVOXoyDpkZDKKQaGNxbgyVTJiHdKrGNoxq1a/ATSp1o3LwexFfM1qth85aQ2IbaS+Fgy1GjQR13PoaNUuLVAc2w5L9R0PX4DLUUGtTKt12s2eF+5IRuw55N+yCp3FHXW4N3fvgZSyf9iotROrZ/z96nZX32r4RajdqyOVyVqvGDr+PQ5B9xPMiAWh7sy1RasXHmSIRpH0eTmg4xjdKzLoy+e7Hk77F4e9iruP3Vz7F92nAsnbsBTz7UFnWat4Xk8MDbj9XD0n9/gbLPMHhqwNbdQxT3awOaY8lfwxBZ7xX42OzsrZ148KOR2DfrN6xZvhlenZ6F56WNWPrfWLz4w3AWeNSGh4qtKQt46tXSotdjj2P1yi1o1LIpC45qwEvjWvcGdTToN/ARLGPz5WibsDJln6dRbXg3aA2nU4LSow4LHbR4Z+DtWPzPH4gz8IDFhg2rWVAnlkAIIVWXxLZ/9evXRqeOrI2uBK1e+V0aagiHQl159yyVSpXYc5ccdhbIlEORsb15vocOFmg5nE55YPH49PwynapEwcpdycudBXk8yCCEEJIP2xNTSB5QutWRB9wcFefS0ErOyTfqdlv5BBKc5BTvV9pAgqtqgQTHe61EuVMgQQghFRYFE4QQQgi5IeUXTEhVb6+ZEEIIuaV4b/nNuRzvmpTbOROEEEIIqZzonAlCCCGE3FQUTBBCCCHkhlAwQQghhJAbQsEEIYQQQm4IBROEEEIIuSEUTBBCCCHkhlAwQQghhJAbQsEEIYQQQm4IBROEEEIIuSEUTBBCCCHkhlAwQUiVZMbJcwHYesIPSXqbPAwwZETBWEY30N9xzBdWOU0Iqd4omCCkitm+YALmnstC316d8fRdXdHIWwPIAYTd4QarNe+he+kpSfCNShJp/8hE8WrXZyAyywLJnI1LEQnINl/9IX0jZ2+AgSccBoTEZ7P3MME/PAFJ2SYxnhBSfVAwQUgV8+Tb32Bg40wM+nwCur4+Er0//htGh1OMO7hiDvbGGiFZ49H128Wo26ARurVqJMa9/vtC8Zrjuwu/7QmGwr0murdpgqXz/saBNKMYd1UGP3w2+wCg8ECXtk2QdHQzRh9LlUcSQqoDCiYIqWJydMmo3fg2rP33G/gtGYkz079Cu7f/ye2ccJHsUGs0ckamkF85RV5GKjDi6hQFZ5ZfCSHVBQUThFQxNXwaAo4cHDrjJ86ZiMs0ImHJV2IT3/Ox59C7oTsUbi1xYczLCPL1x+aTAWI+pRwEeLW7C+/1bibSXL9Hn0QnH62cy/PLe8/Biyc82mL4Cz3FMK5FjzvxXHsfOUcIqQ4UEn9IOSGkGjJhxcbjiDFJeLBvV/RtzYIQQgi5Ch4qREZGIi4uTh7i4nA40KdPHwomCCGEEFK8koIJOsxBCCGEkBtCwQQhhBBCbggFE4QQQgi5IRRMEEIIIeSG0AmYpFrQ6XQwmejOjKTsKZVK1KtXT84RUjWVdAImBROkyouPj0fTpk3lHCFlLzQ0FO3bt5dzhFQ9JQUTdJiDEEJukCLfHUMJqY4omCDV1oali+RUHqfT9QwLpzOvwy53GCQrMnVmbFu+xJUnhBAiUDBBCGfNwupjoVDaTdh5NhpKRST2Bxlxbs86hIRHYsWchbAr9DgdoZdnIIQQkovOmSBVHp0zQW62sLAwtGvXTs4RUvXQOROEEEIIuakomCBVnre3N8xms5wjpOypVCo5RUj1RMEEqfJq1qwJd3d3OUdI2WvdurWcIqR6omCCEEIIITeETsAkhBBCSLF4qKDX68UdX6/ET8KkYIJUefx8iezsbNSoUUMeQkjZ4fchSU9PR4sWLeQhhFQ9PFTgjyUoCgUTpMqjS0PJzUaXhpKqrqRggs6ZINWWUa9HVlYWcnRGechNItlgtslpQgipgiiYINXWro3rUKtWLdRwhGPXhTis234YcQGHcTQkA/vWLUJ6Wio277+ESzuXIzo9Dds27cOlzQuhl4BlU6Ygg72uWzgPzswYrN57Bn5HtyAwwYDNc2bg0JlgZAUfxN6LUTixexOORTvkdyWEkKqHgglCanVDv3ZaaBu0RLP2XZGSlgKv+m1Rt1596CJDoPFphJZ168GaHYXuA17DuhlT8eKnn+LowqnoMehNGHTpqNuwCZo0qo+0HBMUbt54oHdHZKdkoFnTxqhf2wt0MJEQUpXROROkyqNzJsjNRudMkKqOzpkghBBCyE1FPROkWkhISBCXhxJS1vittHmvxNWuvyekqiipZ4KCCUIIIYQUq6RggkJpQgghhNwQCiYIIYQQckPoMAep8qav3o0pW07zfjp5CCFlS5eVgZhNf8k5QqoeOsxBCCGEkJuKgglCqpGGLe/CnlED8cbAJ3Bi4hC88toreJTtcdhsNpgsNpjZnwQnzFa7yNscrt4cuwM4vmg49AYLzDbXODt19BBCZBRMEFKNJEYcxaBJu6H2rgkPtRKN6teFX4vmWPhYezZWwu7lv6CG9T5Me7WjaBzO/fkirGJOFlA4nbA9NQDjHlDA4eyKIz/dJ48hhFR3FEwQUo04JQXaN2+IGL9zePyHldi4cTOSo6PxU5gdT/e+Dd6SDRbJF7OPJEGrVeOLBUegZvOpWEsx/K918PY9hyVBKni4xeGb5f6uhRJCqj06AZNUeXQCJrnZ6ARMUtXRCZik2vP00EJyyhlCbgIvd62cIqR6op4JQgghhBSLeiYIIYQQclNRMEEIIYSQG0LBBCGEEEJuCAUThBBCCLkhFEwQQggh5IZQMEEIETLio2EWKQtiU3OQEh0JutSLEFIaFEwQQoQ6TZsiNSYG0TEpaFqvBmsdqHkghJQO3WeCEEIIIcWi+0wQQggh5KaiYIIQQgghN4SCCUIIIYTcEAomCCGEEHJD6ARMUi04nE7Y7PToUFL2FArATaOWc4RUTSWdgEnBBKny/lq5D8OGPCLnCCl7X01Zh78/HSjnCKl6Sgom6DAHqfLYjiMhhJCbiIIJQio4c8Re/LjwBKwZEfhmwhJYovbDP0MeWYJp330Fi5wuyIlnXvtWpD67oyMCDIAxYj1mXsrEf3P3AOnHsNLfjIgtfyJOTFXQ9C9exZ4LSUgPPYyPp++Th5bewDeWyilCSFVAwQQhFZx7m0cx5q27YM3KwNlLQUBGKLQ1sjByzgkxftV3r8IhWfDpmEMi/8WQD8RrLgUy8PX2BJF+fshC8cp/+pNfrIWjJ1bgrWPB+PfPv/HKp8vwYffa2JaUCYfJCruZRRhsbgf712G6gHkXrGJOa9Jx6J8ehwcaBOGz32bh4sJ9OLVoFNLEWODrt0ZhwuCn5JwJry87ia++nSFyZxZ+hwR+6opCjVlffgz/4CAEBZ/Dj7OOifGEkMqJzpkgVd6klfvwdSU/Z8KYnYZsowONGzeEZDPCofaE1WSEyWTB/B+/w5czZsJosKGGlxa6rBz41Krhmk+ng4ePF/QWwMdNiaxsE2rV9BDjuKx0HWrV9YHTZoBN6QU3FZBpMKO2lztSk5NQu5YPFG5eUEk2mBxqeKjzDhplpSXDLKnRqH5dkbfoMpBlUaFhvZoiz8c73Wqhjo8bLGYj9Hozjs4fi/u+mQBltpmthzuy05PZcjVo1KCOmKeyonMmSFVX0jkTFEyQKq8qBBOkYqNgglR1JQUTdJiDVHmN69aE00mXhZKbR62k03xJ9UY9E4QQQggpFvVMEEIIIeSmomCCEEIIITeEDnOQamHi8r044hsu5wgpOz6ebpgx/BV4uWvlIYRUPSUd5qBgglR5dDUHudnoag5S1ZUUTNBhDkIIIYTcEAomCKlw0vDsX667WcLM9gRsWQhP5nejBDasWoHwuAgkWoE9l4Kxa9Nq+MbrxTgueNkbMLHXU+cCsH3TKgQluubj/nvvOfALZEd//ya+XhsMe+IhjNsejqCLJ3H+8Aq8OmwqLCkHsOLYBaxatRomfutL2aBnh8spl3MHNmPdrjNyDtiyZhnORbnu8X1u3wasPxQg0h8P/AmHt6/FiZAUkYc5HSuWrUSKfI9vW2oIlq9aB35vzfij83Eyle0B5UQiKHcCQkilQMEEIRVOPWwa9oBIXZj3DpKt8dhxMR3fDHgRz7/0MlopAhFkBCavPYb+zw7G0uEjxbS51JCwZMVpPPnsS1gw4X/yUOCzOfMxYNhoNHtpKl7K+A1f/zgF3z3ZFhvnTUDP+/uj7d1Pwc3mhMqnGV56qT9G/btFnpPLd+fLoI244H03ermdxupwYOC7Y/HMi6+iV6s6WDnsQWw/fgEXDqzC3NUBUErA/U8OQm8cxIHoVLw/OwIvvzoEsctHwKi/hCVxjfHKSwOx+JUXoHX3xL+jvsaYA3Z0auAmvxshpDKgcyZIlVdVzpm4uHECGt87FBvGfY5Xxy+DN90nqcKgcyZIVUfnTBBSRfR47hs0qFcPH0ygQIIQUrFQMEGqvBcfuh2bj/rKOULKlsliQ70aXnKOkOqJDnMQQgghpFh0mIMQQgghNxUFE4QQQgi5IXSYg1R5BpMFMzYewcAHb5eHEFJ2MnQGnA+Ow3sD7pGHEFL1lHSYg4IJUuXR7bTJzUaXhpKqrqRggg5zEEIIIeSGUDBBSCXgTNyHD/9cDIPdlU85NhuH453YP2ckfhkzFt+/eT8basULg7/C3+N/xvDZ8u24mW2jBwGOKDz94WhM+m0Y/tp4QR4DjHq5P/vXjl9+H4fRO+Jx+L/PEGcG+r8xDSumDseLn/2O6L2TMGnaLHzz0VAEZtpcMyIDL4/cKadd7L4LcDAuAE8//Sg2XUrCA099gDl//4aPf50LZB3F9NOpbCoLPvplA45N+QRT50/FsM8+Rrr8mQghlRcFE4RUAnYr8Pkrz8BL7cCrjw+ERqOBWqXA5M0W/PbjCHRo5LrPQcu7n8VX345Ghm/+W2G73NHveXz9y0TEbt8nDwF+XbEIPe99AV/89B16HhuKWfE90MwdcNcAL7/3Gh57+zs4LWY8//oHmDDmUxy+mCTPWQeaU/8iUe8AJBM+fnIo1FotPGp3Rvc2DfBs90ao3aQX3vvqF7Q4tQ1w08JidgLGVEjuWjjZbE8N/h/++O41zD2SLC+TEFJZ0TkTpMqryudMXFw3EaOWnsLL30zES3e1kIeS8kbnTJCqLv85ExkZrof6ORwO1K9fX6SpZ4KQSqzHwOFYt3YVBRKEkHLToEEDeHl5XQ4kOOqZINXCd9M3ItvIH85NSNlSKZX4bOCD6NSyoTyEkKonf8/E1RQbTPj5+cFgMMg5UhRehH369IFKpZKHuPj6+sJoNMo5UpSiyu/YsWOwWCxyjhTFbrfjoYceEudREEJunk2bNkGhKP4pe7wde+qpp+Rc9VBkIGE2mxEVFVWocSdXp9fr0bNnTzkHmEwmxMTEQMn2WEjJeMB6++15N5Ti0S8Pwjw9PeUhpCi8jp07dw7338+v5iCE3CxXBhI8iFer1XLOpToGEkVu5YKCgi4HETzWuNofycMrk82We7mcq/xyg4irlR3/I3l4XctffmfPni0URPAfsFpFgdmVnE4nGjVqBKvVKg8hhNxsPIh44YUXCuxAVldX7ZHgDVJISAjc3NxEI9WxTXtYDoRDMtmgcGfRl80JRW0P6Dv5ID09XZ6reuMbOV6xOnXqJLrjw8LCoNVqXeXXuh0sByMKlJ+yrid0Hbyp/GS8/PjZwB07dhQ9EampqahTp44Yx2uoSqnAiv3nsfLAJcz75iXU8nIHhWJ5ePnx32yvXr1EPikpCTk5OSJdEh7wtmvXTs4RQoqSv0dCtO2sveKHsN3d3cUw7lb1SMTHx2PLFtdl4B4eHnjzzTdF+nrwGIBvv7jz58+XGCxddfeObwTzF4yUY4Y1MBmavs1hWHURmgdaI2figXx71QrEHDnAWzM5f3VKjQS/+Ew5VwSFEkmBR/HHn9OQ4yzYZVQUlZsRE34bjT/HjsaZGNc5HQqVFmfj9CLNKfQJiMqWM6VgNaQjMTFFzuXJrURc/sMWvCz44SD+Gh4eLoKwXM5ME2yhqdD0aQbDel9o7m+F7EkHC5Rf9KH9fOFyvjB9UhBM2uIOMyngv3QOKz6+DAUubp4FtUgDaoUe/uHZ0DiN2O6fDoXThnMpTjEul0KhRsCFzVBdsQrG+MMwOFwVqiwUV36555PwH2a9evVEmtt/PhTztp9EdEoWmtevhZd+W4Ipm46L4MJFgUtLhuHpF96ESeWGbT/MY5+99D0XlqwgREr8/AIFdNGH8fTz70GlcWL1Yj82pChKHPphq1ze5Sd/mV1ZfjyfW6d4EMHLujR/fB5+aI4QUjo8iOjfv7/YcRw8eDBq164tj7k1+E7sww8/jO3bt2PHjh0IDAyUx1yfET/8ALvNJtritFLs7BZqbXmjwqOR3AZJYG2l1zt9IBmsrARZg+XjBm2PJvJIF30Kv3ENm1ChQkp0OJKyTayRVSE6LATZKayR4qOUErKMVpj0SYgMCWeNmGve/ByZEUiqdw9++vELnD7ANmz2HGTFRyLHwvbi2doGh4SJxi8rMwehEfFiuQ6LJ0b8/B16vDQCd7VQISgkCkqVGukGGxxWHcLC46G0G6F3qJGUZmBpM4KCwtk0KrY+BkTGpMKYHgeTXf7M9gzYPeqiSZMGrnw+/LyRffv2iS/qxIkT8lAXflkMD8J4F32B8mMbG883e7vKz8HKr4Y7tN0ayyNd9MmJrgQrv+SosMvlF8XKLytZD4+6LeBpM8OQlYyE1Ks1+gpkRzbAnig72wjakepZHwa2cVCy987J0CAw2R856Ykw5ZyEMycQXZtrERcegnSjE3ZTOpJiopCdEQvJmAqn3QRdRipi00ywG5Nhl5QIDw2A3sq+AzgQHBQMia1nTFgoKzP57UspMjIS+/fvh7+/P06ePCkPdfH29hZ71T4+PuKHyvE6MnbhVrZONgx78QH8/NpDmP31i5iz9WSBDWl6qAcO7fgX244k4O53B2HXxO+xOyYbSYlpOHk2kH3XCgSfPo7IHCv0bCMb6n8OkiMTFyKS4ebdAs1Udl70WPzdERzavRQs1sLDz7SDJTkSwZFxyGT1LyEhAydPX2LrxN9XgaRzcbAZ9IiLuoQMs2s9bjZ+yGfx4sWiDPneUX7t27cX5cq1bt36mg518HpNCCkd3vbs2bMHmzdvFn+ZmSXsIBfh8OHDBf4KbDeuAe8F523nhg0b8AMLAnLbz+v118SJeP3NN8W9Ix7r108eWrRCgURoaKjYIBbgoYF+6jEo5D1i87YgqNrWFekrOeP2w96kC+z+u5EUtA1NuvbG4Xm7eN+0GM8b4eO7pqN777Y4GMMbOgUiDi/H6m37+fYW+rQstGrqBqfDjhaohbSwndC27o79K3bg0KzvcOHCcaw5E4f16y+gW+046OUNmavglPhn3L+4cGw7NvumQ6VWYM7ICTh5aA2C2V71uf07UL9pLWzafAB9+3TAopWB2LT3DFq4xyHeowO27QvgcQkc+gx4sdW92nfasmVL8Xrp0iXcc0/hpwHy3gi+QcxPIcrvKBQaV/mZtgRAXVT5xe4BmnWD9dJOVn5b0YyV38E5u5Gd7Ms+TyYupnkhMWg/NOy70MCKadOmIt3qWlFJ8kBdv7VI2Lcf7X30UCdcQKpZgUOZKrSJTkN84Gl0N/jA/8h5ZJ7aj5q33YGkM2tgit0Et1ZdYM1Kwt5IO5zZIQixNYYmdjvYrj37zhSwZWdh9Iqd2D17GXr17gVz1A7sOnEO30zZKIKV0mrVqpX4rvgG76677pKH5jl9+rTYCOZnsxhhZcHZN3/NxSvfT0KbJnUhiW8qj0IRhV/HzkOjmgqsfmUNOnTshv5dmuGP0VvQr0UYktmG3m5Ixyf3forz25ah810P4o3pwbCtWcAagSAkeahZYCHh85Vf449fvoFDYcXKHWH4+2QWenqEY2ecDb9/uwj9uujhl5x3KWna+Z2wtL8XE1+YV/jHdBPwQxe85+vo0aN4/vnn5aEuvFxzr7LiV3DwQ0X8uysN3gPJl0sIKT/8BOn8f6X9vRaHn6/HA4obwQ9nDH37baxbv0H0dpSkUNt31cs9zXaYN7I9HbVrQ2i9kADznhCRziU5rcjKyoTSqz5i4+MRn6OBN2ucEhMTkKIzXm72nWzr7OHhBouJbQbFBlBCu4fexKvPPsY7O1C3Yydsnr8b+uxknMlQQWu1Iyc1GTm1PVCnRSs8+9xgDO7TBO6168Pu7gNbvq29gy2gTc0WeO7lt/FMlzosr0Sjnh3w4qsfoYPKgs4d6iE0ycj2sNPZ3mUCarZvBA3b6FudnvDxlODlcC1HXastguPT2V6wFY4rogkeaPFGl1+uyPcKr8Q3gvxYVX783AjzxgCxUeas5+Jh3hsm0rnyyq+hKL+4HHd4e2jZHnUiUg1swyWxQElyoEENNYvrfGBnBWqDFl9++RXqaV2l67Q50P2Be7GbhWBqtjyvbo/g4u45eKqdBnc+2QJ79H3QuW8DrLf2hqePGtHRCUjPtrAF2eDusEFdsyGSLvnycBuZGSmIikmHmm2M7PpgKDrcAZWHCt41M9l3mgiVd3089MwATP78WbYBK1hGxeFRMz+Jkm8QDx48KA914ccWGzdufEXFVcBi1CE8MROTv/sAW/79EWeCY6C44i0dtroY+tozCA5OhdPqgMOejdDEHHg1bAOrZ11YMkNxQNEHfZsrYFd7sHW2okn7tlD7KMT688Xx3/DmlRfw2puPIkxnYctQITsxnK1zhAiWNA06wKllZc/K2fWe/H08UcudBb2J1itCm5uDBxD8sA/vVl22bJk8NA8/ZsuDWa5NmzalvnyW7wlRrwQhxePBemn+yhvfcejSpYv4e+mll1g7GCyPuT7Z2dl4/PHH8c/kv9k25kt5aNEKnGzJL1fkeyX5oyJeKLxx4vgGUDfhAOouf03k+YmCubfNVKq10LANpc1ihkrjxltZfk6hOGFuxoxleOXlJ9geklMc15YUajjZeN5JwQYVwg9L8GVZLVZkX1yBene+DYeVNeysqXZz07D3sLBplGyDwzczzssn3YnlSUq4aVmQwqdh78XeEVqNEhYWkCh5jgVDdrYd0GpUrJG1iqsA7GwdFGxDzZfJ15HjPSdsTUXgkx/f2PE9PY5HfldGa7zs+OEN3s2cW6kul9+pWOj+PYK6S14R+dKW39QZy/HGK0+y93JAybegChVbrhz15KPSsnXjhx9YOUjsc2vc1Zi74yLefKAjyytEHMM/K48H7WzvW8tPprWxYIlNKznt7LNpxOe1Jp9BUo0H0cZTJw5rsIiKTauFxD4rW7woX76BEvPbbWxZrjIrjeLKjwdp9913X6Go3DcqGR//vRY29vnbN6sHv4gkvPv0nfhi4H2sHFzfj0rrAXeNAkaDEWoPNWxmCZ4sb+efx8briQPuLICxO+ys7jlZAMA+k4qNV6rZ52Lrw75/viRe9m5qwGiysO9DAXcPb2ScXgr/xi/izvoOEfwqFex7ZROr3dleP/+S2PxqT1YvWcB4s+UvM9545L/SheNll7+37OLFi6W+hJZ/L23btqX7URBCrkmBQOLMmTOoWbOmnHPJ3RBKeitsgclQaNVQsJZW3al+gQ3hVTmMuOAXhtu69YCb8vLbXBOHIQ0qr7wT7yoDfmya30eCl+VVy49t4NUdr6X8bmflV/qNtYsCqbERqNuiLZS8N+MaSDYDrEofuKmu9T2vH98A8kCCd+/lq5ICz/IHVs3YchL7zodiwbdD4KYp3Ym4N4QFk5dO7oHNpyPu7NyUn95SKfC6x8uT38aWH7tNTk4WAVxJ+Dy1atUqcKIrIYSU5HIgwTdoaWlphfYGybXjZRgQEIDbbrtNHkJKwg+XdO7cucDVLldyVU3XVQakaLz+nTp1Co884npoGb+Co7Rlxk90zX8SKyGElORyIMF7I3Kv2yc3jh8i4n98D4+UjNc/fu01BQllg5/rxK8Dp980IeRmU6SlpV1uuakRJ7cK3+hRb1jZKnQZMiGE3ASKnJycCtnS8O5V6mIlhBBSXfEToCvDzkCFDCR4AMHPPOdXPhBCCCHVDQ8g+BWA3bp1q/DBRIUMJPglbrzg6MmPhBBCqit+ryJ+z6KKHkgUe+ygNJeM5bqW49t8ufyYeO7yK9KxcX6jKkIIIaS88EDhWoMFfj8ZfquBK+8lUxze28+3t2W9zb1qIMF7BGbNmoXly5fLQ0rGr1dPSUkpcQWPHTuGTz/9FMOHD8eHH34o7lPO5yuJzmLE4wu+wlr/gndDzBWRHIEEnQGSKR0F7n5gN8F8DTcA4JfK5afPKXndiuaE0ez6ko1GA+JSdSLN2fSZuN6HPqdExcmpa8fXI5fTkoPCt7W6uqyMLDlFCCGkLPFD+fzmcaXBAw6+ja5Ro4Y49MF77vmdKEvCg4i9e/ciKChI3GH4WvD5+DOmilIokOBvNnPmTHEzpSFDhshDS8Yvc+S9DMUFE/wJgxs3bsS0adPwxx9/4L333hOPPS3NSZWfbfkbO9/+G8Gp0fKQPOvXjUPrhm3gZmDv7VG34IeKO4LzuuuPvrat+k5OMbpQbIplr6ZErC/F3YT1cf5Ih4ZtsU3Y72/GMz+skccAGu/a4M/U/OGuqa4B16BBq2Zy6lo5sP9QgJxm37VbDZS2z6lWHbqMlRBCyppOp8OaNWuwdu3aUj2Fl29f+baW32gu93HfdevWvfz05Kvh8/BL7HOfp8PvXssf5VDangn+lFP+VxTViBEjRsppgfdE8Dfk16Hzp5vxKIRHI0888YS4S2N+fCX4yvCC4H+8i4XfOpn/FXrwF8OfrfDMM8+IcbkfoF+/fuIRrPmDidx0/lv1vrD4O/x2YAEOR13ES90eQT3PvDtwtqlfA0NWbsHr9z0CZehyZNXtit/nTEat2krUdVNgxqUkRJ6cgfZsvvfnr0B7x3nk+NyGO6ePwQude6OmW95jsvlNufLf2e/08aVwb9kTLyw/hAH1s7Ajw4oOjnjsSbWje+pKLImuibiTf6FD+9vx4/7zkNJ0CDq8A+279sCJHbvRvUd3ZAbvxW3sdfqE4Xikdw8M/Xs9nqgdhRgW/KwduxZ933sUg978HD3rpmB9UnOYj21HTvxBnFR0xrwh7dH89tvx2U8L0Ey/EznN+2HJF4/i7gFvsbXTY/iwuajjEQWv9HPYGC7h7NzxaPdwfzz4yTzUujQX+3QNsG7G9+j3+EAY04JQo/PtWL/lODyUBtQzX0JmjdbYsmgl6tbzwIJN53Cb8xQuGOvh4KpV6Na7J3Kr2ab589HGMw5H0rxwbtMqtO/Zq/jjYoQQQorFAwi+jeXPs+CPB+A78XFxceKZGRx//k3Tpk1FOhc/JWDKlCniWRi7d+8W21seVPCb+RV1XiEPIPz8/MS8PCDgQQffXvNtMe/dKAl/dgcPcpo0KfjU71yFtgVvvvmmeP39998xfvx48TdhwoSrHofhXSzNmjUr8McVdYtdfsve3Oek83l5AfGTSUr7YCFPjTs0qsIf2q1ed6wd+i7GzPyZZTRQZ4ej7gMfoFfrvtBazRjQ4w4837c3ks0GJEi++DUkEMkmIzq2fRrNaxQOePLzdPNGp4btca8lHvVrNUWLOm1Rr05TtKrTGpLCHW/17YBnn38Dfpq6eFx1BhcNJjz1Mi9DC/Q9XhDL2Hpcw/sloOr6Djp1vx1PBtrgZEGSpPJAPbdmaOGtRv/H+6Pbw88h+1A0kgypmL16NzIzLGjdrjWb52HUH/AO7ur/DOJ1Zmi07mK5+vCDGPjLx+j9wGAs3ZuEIffdjtc/eApHUhR47aWnMWjgQ+h3Tx/07tRVTH98+2k0Z8X3ZEsjLoZksG9fBbU1Ax5dHkCjpm1Rn0+kVKNvm0bo21qN/N+4ilc2Fvzd3b4Z+nSoBXP53T2bEEKqpBdffBENGzYUG3T+x7eR/KFbReE74Hzb+dZbfEcSeOedd9C8eXPccccdl59hdCU+z6FDh0QQ4eHhIXbUeacADy74oZHS9ErwIxRXPj4jv0KBBI9qJk+eLA478A08DyCKO5mDf6jcPx498Q9V1KEKfvbp+vXrcfbsWdEdww9r8MCC35a3JGq1BlaHDSa7FVq2scvvzIH5GLBwODp0fR6wOWCp2Q4Nzo3HgAVj4VQrxAOWJMnJPocXnmZl7bA70bOmD2yleGolf5w5Z+NfUs2WWLx1GFReDTF7849864ppq8fg3Xn70M2ShclhUeKpWBsXz0H68XV4qiMLUixRuHPwg65lRJ/BwOefQI0fnwasdvGQqEeePInpvvrLD77iTyw9fmgH6vW+FyoLf7qkq+ytfDz7DHyV+bC0Le/Co+2TOPrjm3j58+/x0fsv4K0hT+HzGUF4ooGDrQb/0A5xvohTVDA7LPfwCurA9jNR4mmjfHk2TR24h+/EinVb4eT1SX4uh3RF75PojSpiHCGEkOvDt4H8nEH+x89fKA7fzvLef29vb3EaAd/Jb9CggRjGA5Kr4fPwQINvx/m2lj+OgA/jAQTfmefpkvAgpahAhSvy8k9+7GXr1q144QXXXnVJ+MkepblPPx+/adMm8bxzfljj3nvvLXTI5FZe/smfkcGf+VAaWednwbPnB+JchyttORKMZ+7rCP99B9D5kYcuHyK4VTL8dqFml/5QXWVF0hLiocuJR4ziNjzYMS+o2zVvNiKsDihqdseHr7ieJkkIIaTs8JMse/ToUSjNFXX5J7+4gZ9syYfzIIL3ZvCd86Lw3gh+Qic/XYBvX3N7IfjTfq/c/l7NuXPnxDw9e/aUhxRE95EghBBCKqDi7iORu9POx11tfHkqvvvgFuGFUtrzJgghhJCqqLgAgfck8L9bHURwFfZZG/zqidhYfq0lIYQQUr3wQwkdO3YUJ0hWdAqdTlchAwlCCCGEVHyKY0eOUSBBCCGEkCIVe9WGVBEOsBBCCCGkwrry8RH5VciTLQkhhBBSOVAgQQghhJBS470TuU/v5iiQIIQQQkip8Fsz8Odw8ed85KJzJAghhBBSrNxzJPI/myM3fKAeCUIIIYSUCg8ecv9ylUuPhMPpxFf/rcOeM0HiuMrkzwfh0V4d5LGEEEIIqch4jwR/BteVxLM7yiOQ8A1PxIu/zIFGpWSBBPtTKlG3phdmDH8ZbZtc/ZHjhBBCCKkY9Ho9Tp8+XeAkS65169Y379BGcEyKnOLHVFzHVVRqJdRsJdQsmNCbrHh11AJ8OHF5hbhXOCGEEEKuXZkHEmnZevT76j+8NnqBPMRFqVRAISngkJziqWUqlvdw0yA0Lg39vp6CRTtOyVMSQgghpLIo00Mbq/afwzdT1ogAwdPDHefmjhDDfcMTsHDHSUz45AXEJGfg/QnLYLY6RM8E/+OHO9QsuOCHPtaNeV/MQwghhFRUVrsD3/+7HEZzxXtSdeN6tfHrBwPlXNko7tBGmQYSnV7++fJhCg93LS4s/EWkr2bP2WCMW7obarWKBREKNh8QlZTBgo3n8WTfzvJUQLfbumDjlk1o07atPMTl9m7dMW7CBDza71EkJSahWfNm8piyFxkRgWeefBr+wYHyEEIIIdXZnW/8jJV/foZmDevKQyqO/WcCsHT7USwc9ZE85MaV2zkSktMByWEXf072V5x+d3TE7kmfon+fTkhMz0FEQjqcTgl6U8Hojh8GuZqZs2ehd5/eiI+Lx4BnnoHdXvz73YhGjRtjzvy5co4QQkh1FxAZj9ZNG0DDdoYr2l//u7rhlH+4vKY3X5kGEk4WSDidLIhgfzyoyM/ucODZT37GnNXb5SEubz3eF9l6kzghsyg8mDh25CgOHTwoD3FdcsL/+F22lGxms9ksLk05wyIm7sihwzh65IhI5woJDsb6tesQGOjqWeDz8ul5L8q+vXtx7uxZMZw/5Wz3zp04e/qMyPP312g0Il0Z7Vy+gv1rxfKNBcvjapIjQsXr2T2rYSz6YW83zcpVe+RU6ditITgamCbnbq6gkGg5lZ8JC1fl1cvycG7zEujk9NXsWb4EZRVWWw3pSDcUvuSrPCSEBuF6u0ut6dHY6Zsg5yoHS1oMsm7e/lC1ZWHbBp2p9HXYbrfJKVJaZd4jwXsi+J/D4ZSHApFxiajbdxD8w6IxZfkmPPr2N/KYvDtjFUWhVGDwoMEYP24chn35Fe6/514xz8cffoSAgAB8/eWX0Gq1eO3lV3D61Cl88N776NOrF/76ayK++OxzPPbIo2I5Lzz7HN55eyjWrV2Ld956Gw/edz+yMjPx0QcfoleP2zHl3//w4fsfYMjgwejdsxemT5uOjz78EE881h852dl4/933xHIqgtiwIPgHBImNhSU7Fem6dPj5+SOH/1acVkQkpiMowA/RydlieqNezxpkNe7p7TpklBwbBj82v/iGJAsC/PwQGs0aXXM2C74OwjcoHG273gl3XjvsRjE+NtW16UqMjEBGchQCglwBBxwm+Pv5svcq+slwJQkNCkBQeLxI61lQyWUlRsHPPxAWXj0kB0JjXcFCekwYxM/cYUCAvx/byJnF+TbXw5AWy97DH0a5qiaEB8OffS7+lk67AUmpGeyz+SEly4qUmFAcOHQE0anZrMwTWXn7ITGL955p8cA9XeE0piA1I0t8D5lmV522ZSfAl02XzVdYsiI8PgOhoWwvgS3bz9cXsWl6Md21shh04ruTzGmIStYhNiJEDHfo0pDK3tuoY+seG4qAkAgxnMuMD2PrEuAqO1sW4tN0CI3LRExEBNJiQhAYEimm46JCAhAY7Jr3/NmTOHnugigTa04yW28/ZJldBZYUGcLqYYirHl0HyZwhlpei5zXZibCoJPbe/giNSWbxWSqOHDyAC0FRYtqo0AD4y+ukT09ATlYSK38jwsITEB7kj7Bo11ViGXFhyEiMRY5bffRsw7uc7aKeRMSli/GwZLreU3e9Gwun+G2FRCWKXLhcbzPiI8XvMSo0kpVpIILCYsRwXVIE0pNZffEPcpU9k5UQKeq2Wc5HRLDPEBaKSyePsLIOKLMgkLBqFLMHaxJsUGeH4GyWGcv3BsljirZl2aLr+g7Sw47j08mr8e3kpXDoE3A20SCPKdqPk1a6EtZYjD8S60pfofu7/+CLf9bgu9lH5SEVT9kGEg4bCyJ4MOEo0CORrTPCzV0Dk9kKDzctnCUED1d6+ZUh2LB5E/Yc2C96ERITXHsaDrsds+bMET0RG7dsRvcePUSQ8ef48Vi/cSM2b9uKrKwsJCYmYs369Thy/BgWL1uKXXv2IJsFB+kZGWL6lWtWY93GDViyfBliomPw39QpIr9m3VokJSUhOTnvUtZbTbLr4NmoNW5r0xgLVh6CISEEpyJ16NqlPTYsmC427Nv2n0Xb27oi3XcrovWuSFzBmrH9J0KQErAfYWYvdGnXFDGJOqTFx6Nj167wij0Kf3NN1PfUoFuntgg4tY+/GWYu2CyWpQvZheA0E/wO7kK2uh5a+KRil2821i+eiy5du8HbnnVdG5Q9S2fCu1k7NPZ0QGxPGH38BRxOcKBrx1ZYxb5fvh57z4SJcZGn98HIXmfOXok2bL1siUli+DXLCsGm87zcOiIkJAWRx9chS90I7Zt5Y+bSPSyQSMeBc6Ho0uU2rFu2Cg1atIdK44WW9WsiIUeBrqzMjm+YxxZkwa4jgXBkBeN0UCq63NYWy1dtZEFZLJYfz0S3rl1wbAX7DAojtm07gEbNm2PtnAXo2q0b3CxZ173HrZHSMX3xfrRq6IOTh129ONbkUIRkS1CqLFDUaI6WNWxYuDsAxugjuJRZE926sHWbxxouawL2HPNF84Y1cWzfHki1WqK+LgAnWFGe2bYI7g3boW1TDyzYcgG3tW2Ihm06wmlKw5rjMWy9u+LsxgUw6UJwLNmHfd6WSMy8jpPNHFmYtcFXLC9i/0pYWJuxa8d+1GvdGdlnNiBZWR+1NSpWF1vh4tbFUDVsg45Na2HBhhNIj7yEU/FW1K+hxf6d+9CoXWe4JZ/FoWgnoi4cRIrFA+7GJFxKysbeBbPQuktX1NMaWPuUjZlrL4r3jDq0itW3ay/9gF3zUbddVzSrqQCPpw4cOieGR547ymoCcGLvNng3ao8myiSsOpGAZP/DSDC54bZ2DTF71gbYk87gWKwSXTq0xLIZC8W8/JkFdRo2R9vG3mhxW2cW8pOy4tagOxb/sxgbIjS4o5YSF/wzEX10FRYdD8JP3/8BpITj4wX7sHzZbNYuyjMxKsRh4D/bsHH1clwQe2gl27b2IH7+hO30fvkaVE4JfK6gQ1sx9O9N+H79eWzatgWTZizFpAOutozjhyFcFOJig1lTN+CzPxZib0zejlnzZh3wzxcvYtz792DhvK3490A4TEn+GPbXUqTzRteagh/+WYLjrD2/Vcr80IYkDmuwLYKUt1nhJ1R6uLmJACIrR4+M7NJ/YL6hf/qZZ0S6Zs2asNlsSElNFXmO5zl+joTT6XrPR/v1E69169YVw/g0VqsFC+cvwNgxYzCNBQr8sIhOvnd4+/btxWurVq1EoNKxY0eRb8ny/P4XvOeiojCzqPdcWCqM6dFQsHJWsE1R4zaNWD3UokeL2uD78+61mkCjYJFs114ITOSbXZlShajgYPRiQYhC64NWjX2wd+tu5FidCE/Ohp21hPmbVqvZgrqd2AaP1fXbut4Nv+g0SAoVmtX1hkeD2pBsRrzw6itYt3olNh70Zetyrdj7WhqjsbcWNRu3gDdvQRVKJLA9uvs7t2UVxwOdW3ixDUDBEEXBmmzPxt1Ej0mjdtd3km1cYCDu7Md7aNS4vVMDBPknol3LmtB6N0YTSzgcTgVq1+PlqoK7axYXycQa/sOsXplhsObbb2H1vV7j5mxy19Tp/MTcnECsXr0GOrcaiNMr4F6vFXzctXj+jZewZvUKbD0WeF2BhEoDLJu1HE8NfkEeUpDToUHDmu7watQBtogABF/wR2LwAaxeswluHgoYbQrUbdYJ7hpWgOzz1a/hhnq1vXnHD9tzz8LhXRuxcfsReJlYwC6xb5U1ioaEC7CnR7HPsxoZCk/opNZobz2PJQsXIdtx7Z/CkJgAtSNJLC/WrEFIph0qj1rwZhW3Xm139hlcdZH/XUrU4+TOzVi/fS88kAXW3qJjmybiJG1oa8JLrUDzO3siIjBU7MA0a1aPbQj4zBIefWModqxZiZXbT8KQmgyV5HrPaKMGoRnX3ivRuf/rOL11NZat23PVxtPp9EAdTzVqtOnJYtUAPgCNGtWByq022miT4H8+AHf0bQmFxhN3NrGC95Oo3eqito+7aDJZUZMypHRvgB3/fIJX+igx/Ggs3LQabN6Qgjfv7oS3HmC/b1bgjz10J558sBOS8gUS3IAnnsBzj3ZkgWnpejzf+O57SPFn8cKXE2C1G5Fo1GGCviPmf/UsLrG2Myo2AV9/9Bo0fCdNpshtNdl2hlVXhMQY8d8PbyFiznzXcCYxPhAv/ToP7y87gfBE4POH2uKl2RF4b+CDGPHVPIycuh5vPPswDiydd13tSVko20CCH9bgG3SxUc8r/K7tW2HrjN9Rr1YN3Nm9I86tY3vO16DA4Q9W4PkfGlIa/ByK++66G0HBQeh7113oc2dfcR5EZWQ2meBT2wfu3jXlKqhEwJFzbKOfjhMRBtbQ8kbfD9kmG/YdPITezX3EVAILPDrfcQe2HbkAU0Y0ToSkw+JUwkurRE1PrZiELzMxK1OUmcbDA6aAY0gzWLF/307c2bGRqOy5FCwwOXnSDwMGD0F7j3hYrrk/UIk76qXjQmwGos4fRiqPglhr2qprb2zedwSW7CScjWXfNwv6bCmxsBrTEZRiZevgBlv8GaQYrTh3XQEM0KznXdi7ajeslmxsP+CPXn074dCpcGTEXkJ6/V5QKQoGL5zDYYJOn8F2c2pAqXQXexBFqdv5Dphsnnhu0EC0bVgPzbzyCu7MaT+8MPhltLaEQn8d1dDBtn9DPvwUJ1fORDqbX6NUItVgxqmASPHbUKktCIhKQ0LAUdS5/Q50ueseqGq0w8CBz6Bpi7bwVF39TflPtluHxmjZ7V480/9eNOt2Jwv1lOwzZ8Gn+R0wS+54buBAtGrUDPVUSXA26Y3XX3kaJ46W3F18Ja8mrWE3sZ2EFwahS7MG6FLXVf/yU7LIJj49Gw90qofGXfviucfvQ7PWXWHPH7iYkxCfY8HZ7QfQ5y7XDsBlrCwuHj6Ox14Ygt51DTDWask77PDU8wPRpXkDdKtX+D1LEnXhFPo+MQj9b3dHVIYdNksG+03mIDTFdZhKqdIhKEmH8FN70Obu3ixOU+PCxWDo0sIRpe2IHvfeiz1bTsCcHY9jKTWR/3x/Xp1ykjIuHwIhNy4z6hy+/G81fvhvHz6/oymsbKfy9Y964H9TN2L5OfZbZu2NjdUnidW13GplFzunEqx8ABtf2jh57ZzVaND6DvxyXy3oHErRTkX58UPAOpjzd2rk237VRRwLjYHAQ8fRt1196I2uw9FHM/POyWvc9DasGvUOZr/aVx4CNGE7Mre1boZffn2N7YApWLophn3wynW1hWWCbaTLTPPH35eaPPq21OSRt6SWz3wmmSxWeUzRDl4MlTq8+pvU+Y3fpdte/11atf+cPMalR9du0h+//y7S6WlpUu+evaSE+ASpT687pMOHDknRUVFSrx63S06nU8rOzpZu79ZdTMtZLBYxLjo6SurZvYeUnp4uhvPl8OlOHD9+eV7ObDaL6VKSk0We49MdPniowHJvNYNeJ+mNFslkskhpAYel89l6KUenkxx8pCVTmrPNV9LrciST1S6mNxuN7F+nZDK7vg+r2SjpdHqRliS7lJOTI9msZon9oNjvySrp9AbJajG5RrP5dGxZZvar4iwmvizOJln4DE67pGPzm+Tx18Mofx6RNprFq529f87ldWR5q4mth0GyWYxsjTiHWC+bQ16P6+C0mfPKjbEYDeyzy5+PfS6LzVV+JqOrLKzssxvNNte65egkFtSxoU7JaGLl6rBIVrtrzYwm12dgE4qyMdv4cIeYV2DL5mVuvs715uvheieb6zt12lhZ6CSbzSrxr8HM1tdiNkh6Q+53xVaFfed8ncUqsulz39sk6gbD1lWuLpLJoM9XP5ysLrH5eNLO6gZb79zyNht5vcv7jq4ZX29edyyuNzay+szx8nWIIuN10bV+JvZeuetkt1pcn4Ot1azZm0X9Ed8BY2OfU3xEB/v+WMSRW09Mlryy5+9plN/zevDflkF+Pwf73fD1splN4n2XTp0n1lUv1+OQXfOkpBxWD/LXZfb5eF58BOZyfeFlzT7L9dUKUlop5zdLOey38ecvU+Uh18fr3qFyKpdDSkrLkjKMvD1gvzFW//R6vZSao5eemLpXMsi/NUO+3yWXzOZJ17vq/vBvl4hluGqXS6Y8jtPr5britErJ6VmSWfxQnFJSeraUY5LruKzToOFyqmzwNmbfvn3SwYMHC/zFxMRIZdoj4drLl+BTvwW8ajdEj6Fj8fuiHa6RV0jKyBF3tPx44kpxU6pc/DkcBbBd4F07d+H+u+/B44/1h6enJxo3acwDIDG6YePG4Icv+H0l+FUWucNz8bxSoUStWrXwZP/H8fLgl/DYI/0uX4Vxtenzy81fOfxW8vTyhpeHFu7u7K92I9TVauHj7e3qXlJq0al5HXh5+8Bd4zr+5ubhwf5VwN3N9Zk1bh7w9vYSaX400MfHB2qNG9R8AUoNvL08odHmdugr2LQ+cOPd4IzWnS+LU0PLZ1Co4M3mF93k18lD/jwi7eEmXlXs/X0uryPvzndn6+EJtdZDjrqVYr3USnk9roNC7ZZXbozWw5N9dvnzsc+llY9funu4ykLDPruHm9q1bj7ecHPnwxXwcGflyspdo3KtmYe76zOwCUXZuLE9Br6+fF6BLZuXudt1rjdfD9c7qV3fqULNysIbarUG/GtwY+urdfOEl2fud8VWhX3nfJ3FKrLpc9/bXdQNhq2rXF3g7umVr34oWF1i8/GkitUNtt655e3m4VXgO7pmfL153dG63pjfe4bj5cuPWrjqomv93Nl75a6TSqN1fQ62brfd1kLUH/EdMGr2OcVHVLLvT7Qrrnrirs0re/6eHvJ7Xg/+2/KU30/Jfjd8vdRu7uJ923XpKNbVS67HNZt1hBf7XHnl6fp8PC8+AnO5vvCyZp/l+moFKa36tz8DH/bb+G7UJ/KQsqJEw7o1UduDtwfsN8bq3/ljRzFn3UFs+eQReMq/Nc98v0uuAZunjper7t91V3uxDFftcqklj+O8vOS6otCgQZ2acBM/FAUa1qkBH/dbd3ZNmd6QauG2Yxi3Yv/lH0gunh/zwQA8d193kf/4r5XYfToIbrk/bpnd4YTvwh8uN+Ccv78/ayxuQ4B/AMtJ4iQ1LjAgAM2bt2CNgrc42ZLfNKpJ06aIjYlB5y5dxDT8owUGBKJd+3biyo4Atix+mSg/KTM4KAitWrdGdFQ0m951NQML7BAYGIAOHTuKcyg4/r4tWjZHTHTs5ekIIYRUb973vQP9EX7CdcV024vfIHDNBDl348rtzpbcmeAYvDduGaw2R/5DQWKjXoPtXfB7RvDnbuRnszvQvW0TrBz5jrhdNiGEEFKRNe7/CRJ3TZNzFYveZMZjH4/F8QWj5CE3rlwDiVxzt53A2MU74aYpvruFn0W7+Kc30KVVY3kIIYQQUrGdD47C059PEBvtiqZ5g7o4Mu9X1K5xA4cer3BLAgnO4XRi6NglOOEfle96WRf+pqPeeQqDH+rpGkAIIYSQCumWBRK54lKz8MboRUhIzxbnQQx68HaM//g5eSwhhBBCKrJbHkjk4ldqeHu4iT9CCCGEVA7FBRLlemZjozo1KIgghBBCqhC6RIIQQggh140CCUIIIYRcNwokCCGEEHLdKJAghBBCyHWjQIIQQggh140CCUIIIYRcN8XKlSvL7T4ShBBCCKlc+O2mBgwYgJMnT976G1IRQgghpPKpMDekIoQQQkjVQoEEIYQQQq4bBRKEEEIIuW4USBBCCCHkulEgQQghhJDrRoEEIYQQQq5b+QQSSUdwWGcTyQtrponXm8UUvBxDf1wq526EFYGRaXK6dNb+Nw7Tps3AjDUHkXB8JRzy8KJlYuaeeDlNCCGEVD7lE0goVNCoXG+l0WjE6+qFC/HyuGUi/dnsDXj5x9k4e2w3Xpm4VgzbvW4lvp2yQaSvJDmdcqqwf6ddxFvN/KDnGUcOfh3xLVYej4akj8WI777BnuAcJF7YgeHf/IDQTAnH50wCv5HGulnLYUk7jVXrFuC7n6cg5uhyjBv9I6xXeaur33jDin2BTnz00Uf46MUH2Tpmg19tO3f8T5g4dyO2hlgxbsEy/Pjt1whIs7pmgQJuWhWWT/wPY38YjqOxFnk4IYQQUjmUUyChwB8Tl2Lo2CX4+WAWLNGXULf/y1jx3XP4ZkUAonLUWPFLf5zx7IFvbtPBnnUWsY26YdBDjTF2f+E9doU1EbN3Bsm5fOyJcD74Bh567Q2sO5qAVb/8gFFjx2PI3S0xc+xMjB03Af06arD4tCcmTvgDB2aNhC0tUcyanpQKhzUb3Z99GyOe1qLevS/izv7vQnuVEto86XcYC0UTWkydNgLn967A8D8WwZ4RjXT/rejz/u8Y/srdSGMzxFrrYsz4cdi3+ZQ8D6MA0jLsGPHHRKycukMeSAghhFQO5RNISBK+//oVzB/xOkY+UAtuDepi39koOFPD0axdIzj5zTXZH7/JprjPpldDmLR10LdrL3x9X2PXMvK5sG0FBj7SSc7lubBlMdp5JGH3qUScWL4QnbrXRSobfvRIIJo2tMHE0odPJsIWc1JMH2tpBafSybflSErKEMMkJ18VvhISLHa7GFaQEcG174Unnyk/px5/zd2JOx57GdrsKCiUCtSo1wxn/ZNgTLoIcTMwebniDfMTw5krhxNCCCEVXPncIpttnZ0KpYhanA47lCo1HDYrjA4FfNw1sNgccNMoYWcbcaXkgIKNd7LxZrsELw831zJKwWa1QqPVijRfvkqjhclogNrdExq2YTcaDHDz9IJK4YTBYIaXlyeb0pXWsvk0agVbTxUUThZAKNWwmY3QsHlLvX132mAwWeHp5QXJYYNSwd7TxhalC8PGpOZ4oZM7tGoV7OyDqtW8NCTxmeFwQK1Rw8rKQaspePtRQggh5FYr7hbZ9KyNm8qJzav/z95dAFZV9n8A/95cd3dvsDG6OwQEDARFAbv1r6/dvnbXa7eCgIiSSkt314CxhAXr7u3uxv95zu5wSIgTBMb3o5fdk/fEc8/9Pb/znHNmoc42CBOuHGDtR0REdHFhIEFEREStxod2ERER0TnBQIKIiIhajYEEERERtRoDCSIiImo1BhJERETUagwkiIiIqNUYSBAREVGrMZAgIiKiVmMgQURERK3GQIKIiIhajYEEERERtRoDCSIiImo1BhJERETUagwkiIiIqNUYSBAREVGrMZAgIiKiVlNZBOv7c8pUnQmLscbaRURERP+MClrnKECttXafO9XV1dixYwc0Go21T5OwsLB/J5Aw1+bCojFbu4iIiOhssDRUiWCivbXr3DldIPGvnNqwmBrEv6qmDiIiIjpL/pWTCqfFNhJERETUagwkiIiIqNUYSBAREVGrMZAgIiKiVmMgQURERK123gMJjY2N9Z14r//j/dmm0bVu3hrtGW4ilQrqs3BhivpPl9b8Uxq9zvru5DQ2tmdluU/rDLaNSq3mdT1ERBeh8xpIqMSP5tyX70GdRQ2Nxoz3nnpB/Oac/UWS81z01k0w2zTdtKM2bxcKa03K+9NRqbX4+r3voTmDX7j6ov1Ys7/0n/0Yis9b9c0baMTZCSZUWht89uj/xPqffKnUahM+e+Nd5Jadm3t8qDU12JVSica83ViZVGbtezIqZK+dguxavbWbiOjS1tAgb5sAyFs9GY1G5f2FSvOSYH1/zlgM5eKTTvLjKDZQ3KDL8OW786A+PBcD7n8dW2e8i7Wr1yOmx0Dkbv8BRvdu0JYnYFe2DQI9baGpTMG8FbuwfcGnsAkbBB83HX797EVs3paFLr26wtJYgqn/ewYZ1f6Ii/JH2sZ5+HXuAhEU1KN9/zHQqs345a1nkLB3G3oMGIhZH76M3YkF6Nyts7I8ahE1zP/0v9i6aT+i+w1E+s4MdOwVjh8/eAaZObVILNMhd9l7OJK8H6tXH0S3Pl2VVTHUFKBeHYQV33+MtH3LsCsZ6NQpVBmmVlvw6xdviGU8iE59+mPZl//Drp3r0an3APGRKiQs/gpLfpsLu9jL0JC6HyHdemPDjHewfnMq9m1fg1j3ShGkJGHdrG/h3+0yOOpUYn00mPbFMnTtEYO5Hz4NP9dGbNmwD6sXzkNYryGwE58pA6H9G9Yjae9CJJa6IT46APn7V+OXqR9DFz0M+355CXl5Veg7djQWfv4atm1NRlzvnkie+wm27V2DiI6Dsezrl7F+Yyq69O4ufu4tMrrC0d2/Y+70LwG/vvC1LcG0j15FaokjOsaHYOZ77yB1/0rsybJD5Z4Z2LLyd8T07wKDvTc2fP420hPXY9shA7qG1GF1ji0ifdWYPmsHopzKYduuE36euhD7V3+HApuOiA50wJxP/ovE1CrsO1KOzu0DL4ArpomIzi1Z+c3MyoWDgz2SU9Lh6+Mj+p7i6GdqgNrGy9px7hgMBuTm5orfs+Mr+25ubuf/1IbJpMPkUUYc9pwI3d5PETLpcdzx5IuY9ta3IgCpg1lsO4u5EQajtdZsMUIf3gO3//ddbFiyAZkLP8OQhz/GnY/dgpkLEjHrg5m487mvMToiA8klRdhSFIo7Hn0OLtqmnWBqBC6fcDkG3/Um1n/xGsY++Q5umTwcs5YmKNkES0UmShzaYeRtD8JJbURVRR32/Pwern7oQ1x9VR/UNDSirroaw297FGM6GXBU2xQgyZtuNTRaUFMLXHffq/Av/VX50ZWS5r6K/g++ijsfvB/ffbMcxuoaTHrgaZjEOqlhwqZ9ueg3/kHEeWtRV1mOuoIN0Pd8DDfffzvqqqrEKjeI3+wrcOcTj2GVCJia1dU0Raz1NZUwG+sQPXA87n7+Ocz8Yjo01j1rsThj0sNvYIDzduTUlmJ1pjfueuFrVPz2Nobe8xCCRj2N5B+fx5i7XsQdj92Mb35YjcaaGgy99UUUrf4cvR/8AHc/+X/44cetTYWlrgCbi4Nwx1Pvont7H0z7YBZuf+o9XBVbhe2Fdahu0OG6B16Bd+509LvlP/AZ/BhcaqtRL9a1us6Ca+57ARF1c2EW+6PBJAMTC+rqDDDVVYktoUKjLhC3PPERcn6bj4w136Dvne/j+kkjxbQGZX2IiNo6i8WMiPAQHDyYjKioCNHnwr4z9HkPJCSniHh4BIdCrXdCda38ObHAonUQQ0StWvwY/zkOM5uspyXEL39VRT4yU/ciIykNIweHo6G2GJkp+1GoiYOfXgujCEbETGA+bj/I2roKWr0ejUYxzGiAjbV9hsUxGHffdSsaj/yGzYdEVCDG1ehUMMqPNLc4HSLnZ1EpwcfxlHBEJjeO0ds4oq5B9jOJz7RXshAmGSEJZvH+gZffgp8z8Pkna5QdotKK5TI0NG0HZSwxR7nOonC1PE2hDJPrpnSJIEmupPgMlbZluwgxndiGhvo6qExG1JZlICtpH0KG3wSVslIW6MS6yx96mAzivTy9YBHzNKOqPB/ZKXuQmXQQY0ZEK5+nVmvR2CDmJeZpNhrF8hpEfzn/Gthq1fKe69YFs2qxvEpGQw5rHq4Mkx0t1kmsY9Naq6HWic8yymmsa9hiXkREbdmhpFR07doF2dm5MBhEDfgCdkEEEiq1PVztVXDuPBGN66bgxy8+wt1P34DQPjdg9XdPYfuhGrg4NLVvsGjt4eGgE78tKvj5uCF+8mvIWTMLG39fATtnG9z+/CPYvHgKduzKgqOTKy6Pa8SMzz+AfUCk/NVW5uEVPRzbp72Nfnf/F+u/fRnzl+/H+Muimn6+VGYs+PJFbNlVhW6xjvAL8kCnCc9hww/PYtXag6Kmr4Z7QIQSKOhd/aC3RgwaEQQ52YllCg5Q5uPqH670l8KveAypv7yLWdN+wZ239oNbYJB1iFx3FXbO+wqLZk3B2NsHwcU/CLbuveCeNQM//zBXLJAWansPOIjxLCo9vFysAY8IGgbEl2Pmd1PhHiSXXYWju37H9I++wK33TRJBhTISfEO9MP/LV5BkfxX8nb1xZXdXrFs0FUcr7aCx6ODprEH8uOfEMnyIn6Ysxx2T+sPBOwgasa1ixr+Iog1zsOH3pbBzd1fWy6x3x6hYk/icF5GaV41bnvk//PLpf7G5rD06utnAN0isv9gmrv6RInjzhj7pc+QY3OCs18AnOFjZbs6+kTC5dYF5wydYuHQr/EUUpXfzg04M9PN2VJbbJ8QXwYPuQer8l7Bo0VZoROByYOHHKLFcEEWWiOgcUqFduxhxvGxUMhP6c3ghwtnwrzy0y1R1RPzqNtV0L0aG/IOYs3glUGPCmHseg4vNuV0PtSg8Uz/9XARXZgQOvB3dolz+cssV7P0F9f7XIsS77fzQmqtyMeOnObBtNKD/TY+KQIhBBBFRS5aGSmidY61d5855f/rnxR5ISBp5ukDUlE3Np1XOMY1GK4NS5fTBmWy1pqtdzEqNvy1RtrtYL5NyGoaIiFq6EAIJVvHOkMnY+K8FEZLJZBSfeWZBhKS0LWhjQYSkbHcGEUREFywGEkRERNRqDCSIiIio1RhIEBERUasxkCAiIqJW+3cCCfXpHxxFRERErXH+b9T3r1z+KRmr0mBplHeKJCIion9MpYLOOQrQ2Fp7nDvn/T4SREREdPHifSSIiIjonGAgQURERK3GQIKIiIhajYEEERERtRoDCSIiImo1BhJERETUagwkiIiIqNUYSBAREVGrMZAgIiKiVmMgQURERK3GQIKIiIhajYEEERERtRoDCSIiImo1BhJERETUagwkiIiIqNUYSBAREVGrMZAgIiKiVmMgQURERK3GQIKIiIhajYEEERERtRoDCSIiImo1BhJEbVBJzhEs27wf25IyrH2a7E/Nt777Z4yl2Vh98OzMi4gubgwkiNqY7z/6ALfO2Ak3VydkHNyMoAmvILESsJiKMPnDhdax/pn6jF14f/EhaxcRXcoYSBC1JcYaPLlBg4VPXYdesaG4fvwkZP/yPGKdAZXGEzOfGWcdUTDX4dDhXORX1qGxshjZlQal94Ejecrf7OxcJB8tUt6fTuaRXJjE36KCfBzMZJaC6FLDQIKoLdHaYpBdER7+fgXqzNZ+zV9zsxFXv/eb8rahIh2Rkz/A3uwC/L58KW579Xt8sqtAGXbza9/jple+xu7MQsz+ZRbG/LBd6X8q7781DTe99AmWJeZh27pV6PDIL9YhRHQpYCBB1KZoMPeHF9EH2eh/5+uIu/kNPL8k0TrsD1+/MQNfvfMIJg7qgpuvG4cXBnrAYh3WaFFj+gt34+r+nfH8A9di94oE65CTMxpNePOlB3HTkC64/ebx8Dh8EMdiGCJq8xhIELU1ah2uv/127Pr+ORyc9iCS5vyCn5KrrAObrM1Qo0uQvbULUKlV1ndSi/eW5vDi9P4Yy8KDCtElht95ojbFjLyiGut7yQmPDnNEVv7xbR16+5lwoKDB2iVCh5ZxBBHR38BAgqgtaazA5Kffw8SPF2H7oUwsWzoXk5aacNeAcOsITf7vufGY/PD72JaShU2b1+DhJQUt8xBERGdM85JgfU9EFzuNHW65ejB6eQLpBTVw8Q3GB/deCTslSlAh2NMZ7QPcoXPwwaNj2iEhtRi+4dG4XJeNdLc4DAxyQKCXK2KCvJXZQaVBiK874oI9mrqt1DYO8PfzQbi3Izy93BAa5AN90xD4i/EjwnwZmBC1IQaDAbm5uVCrj88/uLm5QWURrN1EdIkoTV2D/6V645F+wTDVFeDyx37Cihn/hTt//YnoJKqrq7Fjxw5oNBprnyZhYWEMJIguVdmHdmHW3nI4u9rj7lF9mEEgolNiIEFEREStdrpAgo0tiYiIqNUYSBAREVGrMZAgIiKiVmMgQURERK3GQIKIiIhajYEEERERtRoDCSIiImo1BhJERETUagwkiIiIqNUYSBAREVGr8RbZdEkoKioCizqdC05OTrCzs7N2EbVNfNYGXdLS09MRGBh4wuNvic6GsrIy5VHKOp3O2oeo7WEgQZe0/Px8+Pr6WruIzj55kHV0dLR2EbU9fGgXXdJUKj4gm4joXGEgQURERK3GQIIuTYYS7N2zC7t27cKefWnWnqdXVZQvpitDdmWjtQ8RETGQoEtTfT4qXbuhW7du6NIpErBYxP9myAZDFnPTX4XoZzY3dZlVGqCmCKmlBqWbiIgYSNAlrDI/HYcPH0ZGTgkSV85AUn4dFk75AlmVJsycOl0EEWXYkV6G6oxt2J1Tie0rlwFatrcgImqJgQRdspx8IxAeHo7QAA+YTRqE+DnA3ckOQa46OMtLResbcSQtFdnFtagyNEAl/iMiouMxkKBLlAWVhVnIzs7G0dxSWExGpa/Z+tdkNMJSXw17L194ujvBZDEr/eSpDhMvmCYiOob3kaA2r6CgAD4+PtYuorOP95Ggto73kSAiIqJzgoEEERERtRoDCSIiImo1BhLU5tXW1lrfEZ19FRUV0Ov11i6iSw8bW1KbJ4u4fHAXizqdC66urrC3t7d2EbVNfPonERERtRqv2iAiIqJzgoEEERERtRoDCSIiIvpLJpMJZrN8kOEfL9k6gm0kiIiI6LQqKytPaB8hyWCCgQRdEhobG3nVBp0TWq0WavmQN6I2TAYSp8JAgtq81NRUBAQEQKXi0zvp7CssLERgYOBJa2tEbQUDCbqkyXtI+Pr6WruIzj4+tIvautMFEszHUZvHTAQR0bnDQIKIiIhajYEEXZrMjaisKEd5eQUMZmu/c6Suptr6joio7WEgQZem6lTsLnaCs4MGM6f8YO15bqz+da71HRFR28NAgi5RFqjVGqh1jnDQAjkHViM9rxgzfvgZaMjGgnUpOLJnFSrqGvDzok3IT92JzIoKzFqbCEtFAmYu2y6CkUNYkdyANXOnITsvF9N/Wizmm4lvps9HSX0jZk7/EUV5h5Ff09j0kUREbRADCbo0qVTI2rUES5csRcdR18PR0Q2HEvbCw7YetTZ+sKnYj0MV9nC0sYGHqhhb06rg6eQC2+z92LIpGe2RhX07kzA8ogHFfn0Q5OePQR1UKK6xILzrMHhYMuHT8wZ4+YXDx0Fn/VAioraHgQRdmiwWBHUdhVGjRyHG2xb7duzF5SMvg6vKAtTmIbz3GAwIViOlvAhu7QZgbD8fbE5uQKc4NySZohDVKRYb00WAoHWC5vB2GGHG9oRKuNlb7yVgF4zMXUsBcw1KapmRIKK2i/eRoDavoKAAPj4+1q5mFhFLqGRi4hij0ajcoVC+TCajPPkBrUYNs7y/vBiuVW449Md0ZvHNUVunl9PKOxweN1/x1TKazGJ+Kt75sI3jfSSoreN9JIhOcHwQIbW81bFGo1WCCEktAoimIEL6Y7rmIEJqCiKkFvMVb7RaDYMIImrTeIQjIiKiVmMgQURERK3GQILaPPnkT6JzpaGhocWpLaJLDxtbUpsnA4nDhw8rz80nOtu8vLzg6elp7SJqm/j0TyIiImo1XrVBRERE5wQDCSIiImo1BhJERETUagwkiIiIqNUYSBAREVGr8aoNavNuf/lrbDiUI9796Z7YRGeB2VCDlDlvQ8NboVMbxss/6ZIWePWTcHFxsXYRnWUqFX554SbERQRZexC1Pbz8k4iIiM4JBhJERETUagwkiC4hZrMJDY1G8TIp3Qbjmd023GIxw2TmWVAiOhEDCaJLhEnEDou+fx73D++Eme8+hstCo/Drc2NgtFhQ19CIeoMRBhEsNBgalVed6G7mGzgCDwwLR70cT7xaDiOiSxsDCaJLhEWlgrteDb1GjbsffhMLkhoQ7aVHVN9h2P3ezVjz1ZOYMiAEq2a9hLnPT0LSrOehNlkzFiLYMDcYsOfnl/DT0zcg/ccnYGY7bSISGEgQXSK0agt6TX4TCzPqsHTmaxgb44jymgZ8cHdvjHx0Km57dy4aReBgrDdg1EszMXV/OQb9KVioNdTg+nd+wm9pWh48iEjBYwHRJcIEDZa8NBaasjx8siwXHd2d5JWL2HrUhO5R9oiLaifGaSKzFnLYyVpQaNUq3pGDiI7hfSSozeN9JJpZ4ODpg54hbmioqcS6hFL0j3PGxtQSDO0SCVenSHSr349fa7TYuf8wwiOCUXU4C6UiotDbeMDHrga+gT7Ytj8D7SLCkXL4iHW+lzjeR4IuAbwhFV3SGEicjgUhUZ3xwc3dgepSjH9tDqDTWIfRGWEgQZcA3pCKiE5BhczUfRj/3+8w/u35DCKI6G9jIEFEREStxkCC2jy9lrVsOncsZjO0GpYxunSxjQS1edsOpOGmF7+GmXdmpLPMIv67ZlBXvPfwJGsforaJjS2JiIio1djYkoiIiM4JBhJERETUagwkiIiIqNUYSBAREVGrMZAgIiKiVmMgQURERK3GQIKIiIhajYEEERERtRoDCSIiImo1BhJERETUagwkiEjRWFOOvLw8VNY2AoZ6FJeVoqyyzjqUiOjkGEgQkWBGboURfn5+qCvOEV0mNMAJbs521uFERCfHh3ZRm1dSUgKVSmXtIkl+7T08PKxdkhHZ+VUI8nVDydEMuHh7oaBWjwBXnXV4k/LycpjNZmsXNXN2doZWq7V2EbU9fPonEf2l2rIClFQbYOPkAW9bC3Ib9PB3OT6QIKJLEwMJIiIiajU+RpyIiIjOCQYSRERE1GoMJIiIiKjVGEgQERFRqzGQICIiolZjIEFEREStxkCCiIiIWo2BBBEREbUaAwkiIiJqNQYSRERE1Gq8RTZdEhoMRrCg07lgo9OCz4Sjto7P2qBL2r3vzcIXj13PJ4DSOfHWjN/x8IQhsNXzAWfUdvFZG3RJG96jHYMIOmeevnEEDhzOs3YRXXoYSBAR/VOMU+kSxkCCiIiIWo2BBNFFoLqqEvWNZuW9xXymzZosMBibpvkzY0Od9R1gsM7XaKg7oUFqQ4PR+u7PTKiqrIKxFS2sLEYDG74StSEMJIgucA/feC0abZyxevorSK0EPvnse+uQv9CYhZd+3mftOF7q4jewvUQEGkXrccV//qf0u2vULSjePgdF4v0zD9+o9Lv+wSnK35Yaivdjwr1vwNbJAZ8/MRk1JuuAM5Tx66vKZxBR28BAgugC52Vbj58XrsPo219ClDMwd1kOkLcVj304E8tnvIdHZuzGireux3eL1+Hjx29GznHVfRW+vK07FqzehBduuwbN+YWYYZPx66J92Dn/e4zzPwoTzKjpdRsK9q+Erq4YBaU1SC6oQVbKCmzftAaTb3vaOiXwzQtP4scv/wudSo3/vPcjHDTAvA8fx8IVq3Dfg08q4zx6+wNYs2oJ7nrtV6AmA3c9/zHW/zYdE5//Fjpx1JFNCt5+8kGsXLkcj38wS5mGiC5ODCSILnDPfbsI91wzAF8+NxFbcoywd7DHgk8/xusPT8LIG2+Gi8UMs8oXN44ZhJtvuQxHyqwTWqncAzB2aD/cM64Liq391C6R2L9qMb5fGYkJl8Vi94YZuOGOUbDobKG184SvpzNifBwQEjMcPfsNQYf8NOuUIoaptoW80PHlG2/Ejdddjr0VlZif1xNXDh+GFyZEYG9eEuLuexdDho3GtaYfcOC3r/HiS//BwKsmwK9pFrBHLspDRyEgMBjxR+aj3tqfiC4+DCSILmgWvPDIU6gyqRET4gOD2Sh6mTBweB8sS6xE6aGdqNdqrWOK12luC3P8MC1GuCXC7vob4N7zCtx711sYG2EdJJjrGmAw/TFNyymffP4e3P7yD3hhhgg++oVBr7dHaPEiyDMcM+dtRju/dljw+WfKuD/sD0VEz8H4aUU6TIXJKNc1LasBHihITkP7du3R+Z43Yav0JaKLEW9IRW3e3HV7MX5QZ2vXxciE/LwC2Dh7ws1Bj7LyGrg66VFVVQ2V8Si+2qTFg5cFQu/gBIuxDka1HfRKFcGE6noLNI3VsHNyhalBjG/jeKz2YKqvhknvqIxbXlYGVzc3GOuqoLFzUoaVN2qhFYcHV2c71JSVw8HN1TqlID4nr7Aczp6+cNA3XftYkJcLF29/2GpEh6UBefll8PPzFVGJUVlWs6oGL322E+89OqxpOSwG5OYVw03Mw65pgS9aO5Oz0D0m2NpF1PbwzpZ0Sbv4A4mTqcMHr70Oo3dXPHn3OGu/C5UJ37z3GnLVQXjh0dvb5C0XGEhQW8dAgi5pbTOQoAsJAwlq63iLbCIiIjonGEhQm1dQWmV9R3T2lVfXwcnOxtpFdOnhqQ1q8zLzS/HIp3NhNJ38Lo9ErSUPn+MGdsZto3tb+xC1TWwjQURERK3GNhJERER0TjCQICIiolZjIEFEREStxkCCiIiIWo2BBBEREbUar9qgNi+3uAIPfTwHjUb5WCmis0cePScM7YrJw7tb+xC1Tbz8ky5pn85bhwfGDbJ2EZ1dJZU1KKmoQXSQt7UPUdvDyz/pkubn4WJ9R3T2eTg7oLK23tpFdOlhIEFEREStxkCCiIiIWo2BBNGFxlyLx26biIn3PIqyehO2L1uIM31KyO3vLra+O1722s+wuaBBeX/Lwx8qf/dNewlHykux/lApGmtrlX4v3vO68vc4uatw5djxuO7a63DjG4usPc/A0bVYkXHmD0x75cF3re+I6GLCQILoAvPTvRPw/pSf8NNXH8BOp4GTR7DyRS1J3oJ5Szdhx+r1qM7cjdyUnfh5/u/HBRkllfUoTdmDzKTd+HnBSmtfIKjfGHw1bw9QloCsvTOUfjOW7EOwsw38XA14fNyVWLrmCCrLarBt3RKs3nVYGUdhqsX/fTkbs+fMxoxnr4CppgizZs7A0ZqmweXpOzBz7mIorbYbS/Hjjz+iWr431aO6JB0//fzrsWXct24RlqzfZe0C1i+ajdV7s5T3FWVNjbnWLlmh/CWiiwMDCaILzMSPvsUTt9+Eybffi0YNsODLqeJH+ihe2eGIcaP64NOPvkTJ3l+RYx+P67ub8fPuQuuUkgpHNy5Avmscromrwy8JFU29daEoXfgDDixfiB++eQW7qupx1GcoNPV5+DHVDgP93DFqSJgYsRjdBo1G6YJXUXHsei41vnjsdtxxxx24/6e9yM0vxA2TbsS710wWo2/F1GwPTBo/HEVVBlx/51RMnjwZ7988XnymBtnlTph4/SiMf/JzJM19HaaOl2NknCOemZaEeY9dj46jr0N37RYsyqgVH6PFLy/ehpABw62fS0QXAwYSRBcYk8UF734/HT9+/yUmTJwKEUvAVJGCwf3jxTs1PFQqwGJGoLsNoHeC6U+PRzebxTBXG6ht7MWwP+6dcUu7XMw4kIrgqNF48bU30XPUWDkbqMQ/DdZ5WCxu0Iq/zk66FpkOM+7/YAq+++47fD6xMz7479tiPBPKtGbUZW/GsB7hYhw9vJ0MKDbm4MWXX4QlsheqNSpERfoqwxzTjyI9cx86u2mh8YhCRmISNmU5wlUcgZw79Mfe1BIRHC3G0n0N8HdSPpSILhIMJIguMInbF+D+/zyER+69HW98dBPqGhqgdRmK/R/cg7c++BJ54offYjQ0nUoQP+hG8x+3gqk3GGFuPPmwqx68BdmWa5T3Qcvm4LphQSIgMMMggo12fYPx9re/wmwwKMNNjQ1N85AsRhhbBCsDu3rho89/gLbeALsuj2LpW0/hv889gQP5ajzUy0WZh0dgBzjWN2L5L9/hv48/hEkvP4bR93+Cp594Gs8/8wT+98pYvPXFw3jy2efx+BNf4NnhQXCKGYopC77FhOuftn4SEV0MeEMqavPmrtuL8YM6W7suUmYD3px7EHf1UOHxHwsx9bkR1gF0IdiZnIXuMcHWLqK2hzekIrrYqfV45rou8AztzCCCiC4oDCSIiIio1RhIEBH9UzxBTJcwBhLU5q3cmWx9R3T2vT9rFWJD5dUpRJcmNrakS4LyUCWWdDoHHOz00KhZJ6O2jY8RJyIiolbjVRtERER0TjCQICIiolZjIEFEREStxkCCiIiIWo2BBBEREbUar9qgNu/RT+fh7qv6wUYnn2tJdPbIo+dHs9fgw/+Mh0o+lZWojeLln3RJm71mD64b0sXaRXT27UrOQjc+tIvaMF7+SZc0tZo1RTq3WBujSxkDCSIiImo1BhJERETUagwkiC4CX952LbYnpeKr5+/AgXrg6f+8Yh3yVxpw9bd7rO+Pt/e7h3CgygSU7kLMLd8o/R68ZgyObvwaeyuAj++YqPQb/dTHyt/jmOsxZuxNOJSegodvGIdy0evR+59W5jX3QDUyFr6BI01jnshSi9ueWWHtIKKLHQMJootAYmklag163PPad+hgC6RZ6sSPeSnuu/8xfPLVFEx4dyNWPnMHvpryHe658RaUGawTCnqdDf73yE349tuvccutt6POekK/88Q7MHVZBnYtXo5bVL+LPnU4GngV1NUlcGpMw+9JRzBjczbsju7Flx+9gbtendI0oTD3yRvx84LpaB8RjQ9nzYOr6HckWY+fX/8Kcz55ASpbPeZ+8wMev/82pItFvWvcPcp06167F5VGGxRmrsJbL/4XL03ZoPQnoosXAwmii8DHv/6OYH0Znrz1ChwSQYKtjR77p9yHDz5/Hw/ecxtstGqotBrcftsd+N9Tg3CwoN46ZROV2hO333k3XhzfEUeaG1/bd0TizOlYdOAonnxmNPakbcXQcVfArNIBnpHo4+uGG/sGwRTRE/c+9CyC0vZbJwSWZ5bCUfz94PFxmHTD9VibA9jYaDHhsZsw6s5ngUYzrr/rFrz74SNYk2KBja2NMp1GbwMVzAiKGoWnX34VXXKmokXMQ0QXIQYSRBeBT7+bj+B2nfHkg9di95EGpV9w+4HYWmwEqsWvuFWjBbCYzDjxlgYWmMS/JvPxw8Y7rkaF42hoY67HLeOfwNX9A45dgWA0mpvemOSUx1+Z8OZTE/HSvD149L15eO3hkag6NlC8UWuUd8qymC3K52mNTdFLTnGhCCRUKC7OULo3pZdAr7wjoouV5iXB+p6oTTqUmY/YUF9r18WpZyc//DZvAcpc++Lqjl7wdndDdK+rULFlIVKMvthdUI9JwzvC2S8IWr0T7J084aCT9QQVfJxs0SkyAF7+AdA7uMDJzQu2Tb/1iO3dHTH9+sDdzgZh4dHoFh0Krb0L7B290atfPLak16FvXAhC/Tzh5u0B32B/ZTp7/27o712HOb8ug0P0GAwKtYe3rxtCO3VD1pYliO7WF44u3rBR2cDZRo8brumDX35djR6DR8Ldzx/hfs7YsWElJj7xKhysy3Ixyy2pgL+ni7WLqO1paGiqwJwMb0hFbd7cdXsxflBna1fbYTHV4eE7b0e5cyS+//BVaHi7jPNmZ3IWuvOGVNSGNd+QqrCwEFqtFjJ08PT0VP7y1AbRRUqlscNHU37CDx8xiCCif4ePjw/uvfdezJ8/XwkiJAYSREREdEZk8DB16lTcc0/TlVgSAwlq86prT31uj+ifkg1YbbRtoKEH0Rmyt7eHydoIW2IbCWrzft+ehPkb9x1LwxGdNaJI+Xo446XbRlt7ELVN5+Tpn2lpaaioqICTkxPUaiY26J+TEW5VVRW8vb0RHHz6hmupqanKuI6Ojix/dFY0lz95DjgoKMja9+T27t0Lg8GAqKgo2NjYMEilf0Q+gr66uhrJycnw9/dHRESEdQgREdHFZ/ny5crVfvL37Z/SaDQYNWrUWZkXXbhalZQ4cuQIysrKlIQE0dkms2h+fn5KcH4yhw8fRnl5OcsfnXXycCgTE7LsyTJ4Mvv371d+aNu1a8dkBJ1VMjF28OBBBAQEIDQ01NqXiIjo4vJXSQmj0YguXbooCYddu3Ypf0+FSYlLw99OSmRnZ6OoqEg5Q92ycOh0OqjUaqjstNY+p2EWwX99oxKAtWz/SSQ1Vwzl2WrZaqKlrKwsFBcXs/zROdNc/mRrHS8vL2vfJocOHVKGyYTEX/041huMKCirgo1OCz8PJ2hE+TSarDcfJzoJWabq6+uVFhNhYWEnTcyazWYlmDvb5GfL4ygREdE/dbqkhPwNi4+PR2RkpNKdmZmJPXv2nDIxwaTEpeFvJSUKCgpw9OjRE5rMyyApJDwUNpVG5Pf5FGo3O9iNaQ/YaFE7YxfU3k6wHxePxsQC1K9OgzbUDV5L70RJSYlSwfxz83u1VlQwzUaYzP/8LKRaqxXzEpXPszEvjVYJ2tQqC0yNjWg0mo57otE/p4JGr4dOIyrX1j6ACY0NjTD+afnVGhuoLYYT+itUamjFPMwmI87Cap9IHBTU1gODRez7c/ERskzJyp9sxuzm5qb0y8/PR25u7gkJCTluaEQYdCUNKOj/OdTu9rC7UpQ/sQ1qZ+yG2t8Zdtd0gHF/PurXpEEX5QXPhbeduvzJBIfYdq0tMyq1BqLYwWj4J+VDlAUbPdRGAxpNLeeiglY+StPYgMYTlk9MI29sYJHJFjlMdmtFOTEem4daK+ZpluVG6Tw1UYY0orxbTA2iDJ3+R0Cl1kEjvxNim7V+fS8sskzJ5vTyB9PFpelhGrKFmDwGxsTEKPcKbkluIVmOsgvLUGcwol2wN57/fhkW7zwMjdj+jvY26BoZgCt6xaB3+2DY6HViu558a2ls7GGvlz/MFvHdr0ODUo7U0NmLaeoacFxxOJtUGuhtNTDWGWTe7hi5f23sbKBTW2CoE8sjCo9GHKM1GjMM9aamlf+7RJnSOYj1kcnBc3KQunjJciTLXkpKCmJjY+Hh4WEd0kQmxv5c/s6GRvGbJm8UIZPBpztjRURE9FdOlZSQJwPl75pMusvkhKyGyrqVfA6DjPNP9vt2qSUlZs+ejXfffRfjx4+39oFyyfCPP/6IN998E9dcc42177/ngQceEHVPDd5/773jTmDs3r0bzzz7LJ568kkMHTrU2rd1zvhJoLK5vAzKnZ2dT6jEyQLl6uYKTY0JDZsz4Pb5ONiP7wiNqAzWLToEXaQnnJ4ZAntRMdSGuKExuQj213VEnQhwa2trWxQyWSk3IWHmDKTYByDYzUH0swasYhxZSdIoFXaL+Mzm3qLyJCpiynMH1PKf5gBXVurMODTnZxxQuSPIy02pSMuXLNwt53F6ohKoNSJr+3Is25AOUbuAoaoIqVvWYv2uUvjFhsNRbA65Ciq1XD7xRsy3adbi8/68zHIZxPaTFdemcUV/ZVw5yIzaoiIUFhzFjhU/YG2hO7zVRpi1NrC1EZUAOZ0YW6WxRcaqx7GxrjOivez/2AZi/VWiYoGSJCzbuBHVjjEIcmkKLps/+4RtKKZVy+nEvOX8m3rJeVnHkRMfY0FDaQ6yC+qhsxHb0GwSgaxJrKMsD/LR0XL7H08eXHbs2KFcciGbJMtuOV5SUpLSXCs8PPyk08l+er1eOUDJpIQM0jMyMpTy9+fxlfLn7gZNlRGGbVlw+0qUv2viofFzQt3CROjae8PlqSFKYkLr7wJjWjHsrz1V+TNi3/TpSHMORpCrnbW/IMaRFfxj28W6YeS214ptrxQ9a/kzNdajuqIRGlvrPlMq+GJ7icFnlgMU87Qpxdovv8GC9TWI6R0OO7knVOJAnb8Jn38xHSmOndE9wE6p2CpzFJ+hszMjdeli7DraCL/wIOjrcjD7wxexJNMPPboHQV2bh3Vf/4TK9t3hbyv2uVgmuXxymZvKglgPsQ4arS0MhXuwacOPMHgNhY+DWayzXHZZTuS6Wr9DoqdalMWyQ9OwJukoPPzi4KATFVYxTM5HzrRpbU/2PfijzP4x3tkny9v27duVY1fL8peYmKhk5U9X/uS4eXl5ykOKZPJKZvJlCwlZLluSk1fXGzD22W/w6YKN8PdwRK/2oYgK8MQDV/fGDYM7wUF8fxOO5GNLYhamr96LovJKDIgPh/m4Crn4TFsDfn/sXvxWL46ZxXvxwU+/oMCpI3r4a1GSXQqVuxOKNizC1owKBERGwAZye4vtKo49OpmQsiYJlXKp10Er95PFrCQn5XFHvprKcdP+VMYRy6+UI2M9KvIrAAc7yJBAHhMay9Ix542XkWwTAV1FKjYeqERIgDiG11ShstIEvYMs4zJZ27Rdla+A3MfK90KWfTlMLJec/7FV1UDvnI1pPaeiZEA0wrwdlGOIunkdxPL+Me7FTZaVefPmKZf8yLKjJLXFdl23bp0SsHXr1s065h/kMUJOJ5Ov8lIO2VqsZZmTw2XwZmtra+1zdsjvrWylIQOfkx1niYiIzlR6erqSgGj5WyK75X27+vTpo5zwcXd3V16urq4IDAxUYnJ5v8I/1zNlt7yHV1v/XaqpqUF0dDSefvppTJgwQVlnGTvI+srmzZvRq1cvJZkjT1j820aPHq0kHZ56+hmsXbsWPiI2GX/dBPTv1w/PP/+80rrznzqjlhKyQiiDI1k5PFmBUFpKhITCVgSVprwqaEJclf7G9BKU3DhTVAp94PrR1VA72TT1F5VCbaTnSc5UN1UK98+ajYpuI9EnVJ4hskBrqsH+zZuwJ+UISkTw7+QRi959+yLWrw4bFi5GYmE1HAJ90LDFiNibLkOvODGd0QKNjQmH5s5HUbuB6OVvxMal/0Ou7UiYj+5HsSoWE28dDl+9rCY10ejtYCMCabOpUQRmTWeI1SJiL0vej91bytH5tqHwaJRnEUUF0KYWBxbuQKldJNp5rseURC900xcgMa0I9j2GYWzfeGjz92FnQhIySxugdwrFwMHdYVu4FXOXFMI/woTMAzlwGTYZk7sHKIF4E/GZpjokbp6Nw743YLwod+kH9uNQYhoyy0xwjWqPfqJQmrY9i4M+D+OyUC2OJO7A/kOZqDbbi8poP/TvUIeNuw8jsH1P1OxZjgzn3hjdyw2Hd27AjgMZqKzWwC0oBHFDLkeXqnWYklCHcG0VUrNq4RsUBjdtCTLzquHcZSRGxftALYuIqGSYytNwsMYDnUTF/s+FRraYkJWYk5HBrrwxpawcypsCysBXFl755ZL7/nRFUJat5szpny/laKa0lAgNExU0sYyiLGiCrOUvtRglk0X56+wPtw+ugsqxKbA/fflrRMKPv6C6zxj0ss5HY6rG/o2blfJX2iDKn2cc+vTvg/Y+tVgryl9SQQ0cQ7xRt9GCzndchjBdIpZsc8etE10x56u10PiKinv2YVToQzB03Dh0cVPBoFRGxefp9LDVyxYJBtQ3NCqVRyUpYVuE9c/tgd1YOySl22H8hP6wK9mMOZtUiLTfg8PeoxGan4AKpxgM6hOG6sydWLERuGKsC35amIl+g3vBpXwntuW5wc5cCrfQXoiqnY8pVcPxcAcDtm3ZiH2HilEjKoNewe0w4LLL4ZT8MeYc0sGpUQ/P9lFwqEqAb9wE5O76DcW+IzA8MBdr1i1Go00PFGeloNbOG0PG34iQ/B+xpdgNPXuMAY6sxMJN+1FTp4dv72EY0TkUVclLsHJ7PkpKa9Bu8DgMihdlccdOJKYfRYVJD5+ufXBZ+0Do1ecmOSHLnzzrLJNjzeVPJiN69ux5RuVPXjIkx5EVyJPd1FIeEitr6jH2yU+QV1qFR66/DA+J109L1uOzWYvRIToMD026AjGhAZj8+o/YnZaH8QNi8fKtl8MofqD/mF1TUmLl03dhgbYzIm3LYPDsgHGTb0eUZjM+6b4NvZd3wcoHH8bCAnsE3fMyXo8+jDffT0JcPzP2rjwIz1vfwNvj41GVsgE/ff4j9tQ2wCHkarz85EBs//kXbE42wMHmMFLzHNCtTyjyt67DjtwwPPzKI+jlfgjfXp2Mq/bdgbAaURbFiqkay7Fp7kdYnOKBnkNHYOSAOLiqK7Dm11+wKa8X/jOpEt++Pwd70ysQEe2DTSZ73DDxYdzktAq3/t9mdLvcFnuWie1+xeN47aah4tgiW29pxPEwGzP6LUTQ9xMRlrESU57bDNsbnJCwJgEeY17BW7eI46fY9m2BTERs2rQJCxcuVO6DI1uAde/eHVdffbXye3qq8ieHyfvryEs5evfuDTu7P5KkMlmWkyN+P6yteM4m2WJCzlcm8YiIiFrjQr/R5b59+/Dqq69au04kTwZMmzZNqX/8W2RSQiZsEhISrH2abNmyBVOmTIGvry86duyIa6+91jrk37dr5y68+/57qBXL2rFTJ7z4wgtKnHM2nLwW2YJMSMiz2jKLddrCIE9wVdWjaOTXyA15HXWLDx2rBEoyIVH+xGLkBr+OsgcXWPuemvws+VJrbVCVugpHHIIx7rb/wyOPPIEJ3TXIy96JhC0LUR57Je67/0Hcet1liPNxhVbEdycL8WTcZ+/kia79r8LtDzyFsVGrcSDbID6jabhspVCctgMb1q/F7gMpqDHKM3+ysq2GvastTG7ZyCk0QSfP/omKjKqmGsX24ssW5A5bswreoR0x7Oqb8PCztyEmLR9HjqRg6/wtqPOKRqfYDmgf4qwsm1ltIyqIXTBm3K146KErgf2iottoEtWRE6k0Yhny9+KXXZnQ+0eiW9d2CPd0gc4iAnu5bTRGFCTvxrYN5fDt1AVxsdHw89TAZNJCV52EWVNWQNPlKkwYGorKg2koLQvAdfc/gkcevQ9X9gpEwYJ9KBMVYgcnH3QadgMmXd0Pro11iBo+GTdN6Ad9TjHqRS1ZWTaxATW2jtCXVaNOrMdpSsIJZNAtK4IyQyordbIiKLtlhe+vyHHlGUN5H5PTHtzkSeLyOhRcJsvfG6j7PQUqhz++JLIslj3yq1L+yh9ZaO17aseXv9+R7haGa+8Q5e9RUf66mJGXtQf7t/6KyvixuP/+B3Db+OFo7+Ui9rHcOGrl8hm5zdTOgYjvdTnufOD/MKKDN3ITstGoky0GxLxhFJX7Q0rGccO+DFHmZGsT6wIIFosZjoGdMah9A9bO+hULE0zo3jMWHvYyqeGMfkM7wJifjdTDSdi6rgh9x4tKs30MrgwtxL60PdizsgE9hvRAN9c6lBxdgYUbQzGpuwOSEo6iTtUPdzz+Hzx6390YHGGLbRszYdJpERTVGVdNuhMDwl1QV5CA7+bsgHOna3FN9yCoTBY4u3mj89BrcO8DD+KmoSHYtT4dRq1seaSC2ViI5O15COk8BMM6+WFHhvjO5B3AxjW+GHvX3Xjo4f9gRJdg1CUvw8+HGxHVIRadOkQi0FYLkzw7/ncK1d/w5/In9+uZlD85nqxAyqRYXFzcSRMSLRkb6tBYVw2NOJbIFkmebk5wcrAT+1k2TWz6UZMtSKzfqFOQLQoCMfr2B/HMy+9jlEMlVs5agGKtPbQ6FZzDeuGa627D3fc/ga9uHgwbrS184kfjgSc/wI8zn4V67UHkleZh74GdKI0dg1tuGgfPhKXYXtgItd4OvrHD8fgrn+KpEbU44n0V3vx2Gl4e7ojc3HTUWnTQiX3RvHRyXc1aF/Sd+Aref/tpjO9Zhk8u/wR7Sg3iR9oW9s7FWPv+DsRc8yi++XkGXn3oBsSFuisJSjO0cI0aitsefB0zf3kbAWnZyMivFBvgz+suPsPsBN/wy3H7429h2i9vIu7DTUgRxx3xlW4T5HaUv6Oy/MnLI2S5au4+HTmdbLEgLyGSCTV5BqmZvAmrDE7kfM42GVzIM1Uy6UFERNQWdRIV6jlz5pzyNXPmzH81IdHsZHGmTJDI1r39+vXDsGHDrH3/XQcOHMCgwUNEXbIUs376Cb/99huef+45peXEfx56SGll+U+d9vINmbGRZ7gdHByULNWpyA3o6iwqy872cHygH5weGQhdtBfMBaICO28/NF6OsBkaCbsr2ivDHG7sqkx3subzoj6HmoKdWDh/EZYtX4HtooIf1Od6dNGnY96MGfhl4WZUe3bCoL69ERoeB13qYnw9bT4y6sTyFangEiWCNS97UUMVc9OIYDCvEBZPf3g7qFBZngdbny7wsDWhqjAZjW5dEeCssSYxVLBz8Ya/fwC8PFyV66cVYt00Dp6IjolCddLvmPntj/htxS7ka73Qv/8ARHvaoDYvAfuL6pCx/GfM2VCEuKuGoFNYIEJjvXB00yr8vno3cho80L5TKOyNVSipsUdomDvUhgpkF1gQFuUDm2PBulK9Q3V5AQyOoQgODEMXbyP2rlqJ1TsPoE7ng6joCOgqD6HGvhM6tI+Et0sBNi5chi3JOVD5xqCDnxZF9fboffloRDXsxi9LshF1WQ/4qbOx8IdvMWvVbtQ6xmP4dZ3gUJGPvAYHBPl6QttYhYpKA9xCQmBvrkRhmRp+gW4QdaEmWgd4etujrjgHuflFqGkwQWdjB51y7cypL9+Qj0+UCYWRI0cqzZJklk+SmUB5/fLJpmtJNlOWX0gZJMszjX8+SCjlz0XsMxd7OD0oy98A6CI8YM63lj9fJ9gOEeXvqjil/NlP6qJMd/Lyp0JN/g78Nk+Wv5XYfrgQoX0morMmCbOnTcfsxVtQ691NlL8eCA6LgzbpV3w17VdkNmihLlTBvZ0/XOzrUVblgMgwWxTk1sLD3xvySpCKsnIYdW4I9HeEvDGAvE+AnZObckbS39NZlLmWy2FAaXI1HOICERHoiTqLAS5eUWgXaI+akmxU2YUhzNMbMb7l+GFqErpNHIkQO9nKxwKHoABULVsM02VjEe+ihYOfJwpWbodNt75o5+cG72AvaKt24+evpmLe1hTYh/XDlQOCYShNR5XaD36ePlAZSlBttsGgkdfDp2QFftxaj5AAM0ryEpG0Nwvzf12MCs9emDAiGpaKLFRYRMXSJxIWMd8ly/dC6+WrvOJDY9E1rha/f/slpi1cj2qnUHTo1A8dNelYsmgldqUchX1Ae0QHuEGrOnWFv7VkWZHXu8mzv83lT/4QyQqhPMDKm1merPzJZFjzWerBgwcrSdmT/VBIcnKTyYxlOxJRo3LA7iPFWLQ5Uew3Xzx24xXo1D4KP69NwFNfL0FmYbmSmOjTLgh9O4Qp0/2hqfyVpMzBay99gC+mzEJtp7G4beLl8LAUIXNzNQKu7ohITyN+/+4t/C/ZDSPbO6KgzAldugVAW1eEA+kmdO0bA4fKVMz+4jvs1UWhh68dAnp0hb68BEYbX7SLdkfN0QPIseuMXiF2KEk/AoOXONZ46lC434DQq6LgaJRJIjVU4jiwbcbLeOg//8V3Gy0Y+8rdGCCnKchFlTEM4//TC+k/voZHnpmGjEZ7VOi1CA3qgA5O5Ug8okO33iGwbSzDofQ6RMaHwcNBJw+pUGvrkbO5BO7id8G1oVLMT4ewoWJcQzkyt1YjaGw7yDvJnP0S8e+Sx61FixYp5e3ee+9VWocNHz5c+fGWyUh5o6+/IltIyPIoL4GTrcWaj3/yWCiPqzJxJj/nbGq+lENe7yuTwkRERH+HbIksf5tkDP9PX833O/qr+sLFTm6v+++/XzlpJmPO5pc8EXHPPfcoJylatpr8N8kbv992263HPbJcxiMjR45QWrHIOOWf7p9TXr4hAxLZ5FkGJ391hlBuvBBRkZUFRzLlVKJ2bgIMO7LRuC8XKns99F0DYNM/DHbj4qGybQqqTnWjwTMiVlxVn4/Ny9dgb26FqBzbI6RLXwzoFAU79b93TbJKo0P5zimYWz8Md/T1P+12otaTZUReRy3vbSIflSfP5jVva1n+ZD9ZTiXT0QpR/vbDsF2UvwRR/hxE+esWCJsBovxd0wEqm7NU/urysGHZauzPr2oqf936Y2B8JGxVZ/sGqH8iKot6czV2blqNTUm1GHzFlWjv5yBqcOeuubss5w1527Bl3xYE9XkC0c61f32zzIuULA+yoicTEvKSDfljcCaterRiuoqaeqzanYr5mw4q95CQZVS+HO1sMahjKMb174CuUQHKPRSOv5/ExUcpE0c34vspM7A3qx429qEYeMV1uGp4HPSmxos+oXAhkb/D8p4msmVE586djzWVlOVSJitkcvVsByoyuJBJCdkiQybliIiIiM6VkyYl5FlFGZDLQTLQOckoJzguQyIrbFpR0ftTwsQig/AWNZnmTFDryZvyNd14T1bIjr8++1+k0ihNtnkX+XNLljHZWkK2cJBJiJbJhEuv/MnLd8RnQ5Q7k1gPa99zSqVW1tViPsdJl/NIliFZvuSNMOUlGzIjLCtmf5e8fMdgNKG6rkG5maiTXdNlI6YzSG5cVMSxT16aIm9YKp/206jcSds6jM4qmZiQLRdlqwv5bPfm453slvc9kZe4/dUlIX+XPDslvwNsLUFERETn0glJCdkpb2opK2wyIPlnlTais0smH2QALhNn8maFLJ90NslKnbysSJYtmZRoTUKC6FyRxz95jyeZoJAtJoiIiIjaAtXGjRuPq9XJs4SyifzZPuNCdDbJcioD87N9LTVd2uS1/vKeJ/IxTDwG0oVKPh75XDwWlIiIiOh8UFVWVp5wqvlYM3gioksMW98QEREREf17TpqUoFOTzWcLCgqU58SzaTcREREREdGlQZ68l0+mlE8E4a0Ozh4mJf4GebmAfF68bN7t5iYfWEdERERERESXCnliev369ejQoQMTE2dJK56FeOmSmTH5XPjmR08SERERERHRpUOr1Sr1wn+ajOAtE/7wt5MS8vIFeTO4b7/9FvPmzTv2vPSzRe6ciooK5fFm8gkg/5Scn1xmefPO3377DW+//Taef/55fPLJJ1izZo3yFAe5Dhs3bkRVVZUy7tlgEf81GA0wmBqtfS5e8vGIBw4csHYRERERERG1HbKuuGHDBuXv2SaTF831WpnQkK3v5UvWU2VdtLq6+qzdYF3Os7a2Vqm/yRtjHzlyRPkrX/X19daxzo1/Unc/4xq43IByRb7++ms88MADyrU0Y8eOPev3VZA7zcXFRfm87OzsY8mJ1mSSZLJBXm5x7733KkmIwMBAPPbYY3j33Xdx6623KsmVRx99VHk/ZcoUpbs1n/Nnn2yZg3sWvINqQx0OFBzG9bNewLbsROvQU7GgonAf5sx5D/dOfwJXff84nv/1V2SLstOY9hvuW7YVtdYxT3BkOa769ntsKDo397iQiZpTJmsshZj11Y2YlWbtbslYg4z8HBTVWr9kpnrk5aUhv+YsNXEyFGDDkjnYcKjY2kNsw8O78dui9ShNWoj4279FWt2fvxwWFO1bji+fXYB82WmuwOG9mag8x82uqrM24qcX30dSnbXHv8RUloIlvy7EgbwTD0IN2duwYEUCqs/iqjdUpGLd4jXIOmVhJSIiIiK6sCxevBgffvghFi5ceFYvx5D1WFkntbOzU+rPNTU1+PLLL/Hxxx+jsrISjo6Oym0BZB20rKzMOlXryESHvPfhpk2blGSEfFKXTHbIZZCv3Nxc5ST82ajvtiSfhvjFF1/gxhtvVNatNU9H1DzzzDMvWd+flFxoecnC999/r7zktTNPPfUUunXrpqy4rKw2Z3uaMz5/Z0fK8U/2kjvO1dVVyR7JDSoTBrKfHHYm5MbYvn27sszjx4/HHXfcAV9fX2V55fLJYfPnz1cyU5JMrowYMUIpGKdafjltVlYWgoODT9lCZHPmfjy34mvIpVxzZDc2Z+1HYlEG9ualYGRUT9jrTvEIN0slVv4+E4muw/D62FsxucsIDG3XDi5asZMaSrCmWIOBEQGwgRk5BxfjvZVT8HHCVtSrYtHZvgjzsisRVpuEb7bMxM+HyxHh0Q4+DnIpjDiyfRZeWv0DZiTnIsA9CoFOemQmLcf/dh9EauJ0bKoMQGc/T2hPsWmLi4uVbeLl5WXt01ItkhNWo0YfiA1bP8QnB9Pg7dYBwTZ1+HXhE7h+9ULMS90KO5tQZG18H3es+RE/JqXBzjkCEbX78NLOHDgXLcFzq2Zh3VETYgMi4aJXwViWil9XfIkXty3FtlI/DPRWI2HbNlTaBsDTUSO2VwPSd29AlrozhnX3V7JrjdVHsWn9PvhdNgbhxkP4ZrMR/V12441Hn8WsDSUI7twRAc56mGqKUZBYg8getnj78bvwn//7CIv27UFl7CBEHPgaq1OKkbjgS7zw1rfI1IWgc/tA6FVm5O2Yi9eefBYfTF2OGvf26BjpCYuohK+c8Q72ZBTj0+dfwZqaQPSJrMfM5+/FK1PWQR/WFe38nQBDmTgQHIRr+4HwOu7qn2rsWvAZXnr6VXy1PBk+8X0R7q5F8aGlePOFp/HuZ/ORWGWH2C7RcFKbsG/ak1hfosbv74rl+L0A7XtGIefXN/HYM//DvnpvdI4Ph11z/shQgd2bt8AUPAy9IixI3LACv6/djEO5lXDxD4G7phyHC1QIDvOGjVi/krSdogyuxs6kIyhvrEd+SgGcQnyBzC34/VA1zIc3YPG6XTjaYItAXw/oTpKnshgbUFZcCrvAUDgV78KyA+XK9EvWbMeRSjX8/HxgK3YfEREREdH5kJqaih9++AHLli3D6tWr8csvv8DZ2Rmvvvoqton6xtSpU7F161asW7cOu3fvVupAHh4e1qmbyJYHsv/pKuCyfikv+5fjyBYYpaWlIhb2Q58+fdCvXz84OTkpD0+QJ/7lSXlZl5bjnK4+eirN9dR9+/Yd65bzlZ8vkyHNdWhZ95XzlvfCOFtk4qNv3764+eablRyBrL//XX95o0u5cb766itlB8n3MpMjN+zJmmfIfj179sS11157RgsjN47cQc2JgT+Tw+VGa26NITfeySvGJ5IJDHm5hmwBIVtGhISEHNeqQ+4oOX/5t66u7oySHrL1hmzW079//1PuyE+3zsGDv74PB1sHa58mdUYDEh+agRjPYGufkzObanF4z694b8sWhMTdgYcGdoJ95mx0XWePTRM744dFc1AROR5PdQlsmkAW2MyVGL86Aw9ddRsGempRmDoH07YU4qrr78GRn+/D5pD/w/h2TlCZc/DjvM0YNPZW+B2Zg6eKu2HZ2N5KAuV0kpKSlH0bGxtr7dOCpQizvn0C1QO/x50xopZavhX3/bAVd97/MLpV7ceji9ah+6B7MClEB0tVBr6f+zGcBn6ACeFA5b7vMXiPH9beMgrOciGqtuOxqXtx3z3jkbhmCn5viMU9vbsj0sMbdhrZ7Mki9o/cb2LarPVYtNUBYyd0Q9OeaMSeBdNQ3vV2DAkWIxxZgE6vFWLGx3chXknOJOONQaLfl3ehV+N6fPdoIq5e+Sza1W/EA1124Z7EhxAvRkv4ciJ+0U7AE3deAxeUY87b3yLF/TI8dVdnaOorkFtSjtqqRHx610b0eOthXBuXga+eehyhL63DVX5A4vTrcX/lg1j7f/2Bsk0Y88IuPPzk3Rig2oRv3/4AnV9cjP6eygLDkL8dX3zzDvxvmI3rouQyis1pLsWvn0/DQbtBePqOLpD199qUufj0x7no99hMGN/ogg3DF+P5Yf4wJHyHSXNz8NQDL6CHVw3mfP0RFqiuxIy74uWckLdrATbU9MCEgYEo3r0Avx2yw4Ah3eDr7gYnmRk4uhafrlSLA0g3ZK1djcM2sRjdLwJaMXVR6kqs3gYMufEy2CXMwdT0cDxwTVdRVow4uOgnJHkOxlW9g/Dn1FxDWQpWLtqGoLE3oX3eYny5zxV3jesHW7H/0tbMwR50wOjB7aHsEiIiIiKi82Tz5s2YOXOmUpG+7bbbrH2hJCVka/uJEycq9b6TkbcBkHUjWeE/VQJB1odtbW1x6NAhJcHRtWtXDB48GNOnT1fqnrK1vqxjy+WQnxMTE6O0lvDx8TlpXftU5Oenp6cjJSVFqa/K+q0UGRmJ6OholJSUKC0omucp/8o6vbe392nrvmdKJj5kfVuuh0y2PP7440qjhr/jJOc6jyczH3fffbdy+YNMOMiz5u3bt8dLL72E1157TckoNb9ef/11XH311WecHZEbUGaFAgICTvqSSQKZSJAJAPnYFbnhzpTcEDJj06VLF6V5zNGjR5XWDS03vNxhsoDI9ZP3x5A76J/uGKVQnqRgyv6nzf6YqpCVmYWiOntEdp+ILyfeAmP6XMzKEttSK3aTmN6sc4SfYwNyMpNQqlwR0YCj2YUwKgkWvVKBlVQaLfQak6jgquFl74Q6OKOjTzji/Qbgrf97CqMCRK1YlEmtRmwP6zT/hFpsM2e5jJLWFs7i85USYG5Eg7EBJusXw2I2wiDKk8X6oSqYUF2dhCOVTd1HD2xCjoMfXMx6dI8bh/9dNRrxLtl49v2nsTqvAocTE5BTIRa8JgEL1xgw8rrmhISYduXPSAu9qikhIYnPNKfuw8GjTWWxes9aJHVQwdfHHuqWl2w1mmGsrzy2b+RX1UmjgVrpYYFttRbaCh1K976G0EeXwS0gBJEx/rDXqGCWu1qMpVerYG/9WHcPf3QItCaMTE1JlJZUYifVpS3GT1tTobF3gWMdcGhrUtNAUy5S81UIcWtEUcYu5FsXKic1S+zvTgiyFaOIBXTRNM1TZ+OEuNAIOCqZAaMyc7EoisasFVh+JAJXDpTLIraBd29MmDgSUf622LNwKubtLBJHEI3YB/JDNNBrG1CWl4+mK2vqkJ+ShWqxDY8tvaq5rKhhoxdlUSyIdfFOQ4whpmuahwo2OvFpZrH//3pCIiIiIqJzqrmuKBMBq1atwltvvaX8ld2y/6kSEn+HbK0QFxeHBx98EAMHDlRuTyBPlkdERCjvZf1a3hohPj5eubRCJjH+LlmHbW7ZLt/Luri84kDep3Hv3r3IyclR6vTyJYfJerJsGNDyhP0/Ief3xBNPKJfAtCYhIf2tR4LKlhLyxhnTpk1TLn+47LLLcNNNNymZnrNFJgVkQZAbqrllhEweKJX9Vtq1axd+/PFHZcM3t4aQ72ULCXmfCXn9S2hoqLKjTudMWkrUNtajuKZCVMf+WF75TqfWwNfRHRrx91Qa6ytQVF2OClHbtdU6w9/FXdYbxYAa5Nar4ONkryQejPVlyKmqEFVHW/i6eMNV3YDCehOc7RxgKyrLJmMtaurFuto7K03sjdVFyKqrgUFUDO11Hgh0doTRUIkysw187P/6SSKnbSkBE2qqygA7TzjIU+xmA8qq62Hv5AQbsZ0tDZXIqiyFrWMAfOx0MInPzaooh4OjD2xSZ2H4Xj8sujoOpQ1GONr5INBJfhEtqK8V61hTKeZuCz83XzhpjKLs1UOjLcaymbsRMe4KdHCRzaUsKN79G5aWRuK6oXGwba5Fi22QW2WBk6UUOYVV0LkEINTPRdl+poYaVJc1wt7XVTnTb6wtwJHsSjgFhcPTXIoaOMDJ0V5Ups2oLatGo9oWLuKz6gozkFncACdvb9ibNLBxcYCd3ijmVQatqy/sxMxNdaUotzjDw15sDFM9CsoNcHZxEmtRj6qKSti4+UDXUIriRlt4OdsrFf26slxk5ZVB5Sj2jb8v5KQWURaOHs1FpUELN79A+LvZiTEtqCvNQ6O9D5xlSwdRLsobLHCwdxT72Sz2QxVqYQfPugT8sLwCY64fCi99UyrBbKhBRWUtGi0qsS9cRFkRa26sR2U9xL6wVbaLubEWlVV1sIjvW2naduzMdMcV43vATkxbbdTB2b6peVpjXTUMKj20YvuYW3wvVWot9GK29bUN0MplMtWiyqCBk4ONsp7G+ho0WOQ1dfo/kh1EREREROeBPGn9zjvvICwsDNddd51yAlzez3D27Nk4fPgwnnvuOaXVwsmcSUsJSdahZLJBXqohrzaQ9Ul5iYWsd8rEh0wSyDqpvF2B/KzTXQ5yKrJuKz9HPphAXsIh68+yzivr0LL+3lyXluPIOrC8VEWe8JfD/kkdu5lsKSG345YtW5REj0xQ/N3ExN9KSrQkWx3IlThbGZaWmlsrnI2N1EzOU+4Q+ZLvm3fMXyUiWjqTpERbJG+KIreXbL1yNtVmrsMb2Z54sX/cCZcB0L+rtiAN2zbuQJ4BUOtcEN6pF3pEeVhbRxARERERUbMzTUq0JJMP8iXHb37JlhEyYXE2yDpucz26Jfk5Lfs3f/bZ1JwAkXVrWcf+u1qdlLgUXapJCSIiIiIiImrSmqQEnRqTEn+DzADJVgPy0pLw8PBWZYGIiIiIiIjo4iPrf/KJGbLFQ7t27Y5dPUD/DJMSrdB8GQgRERERERFdOmQSQiYnmIw4e1TFRcXcmkRERERERETUeq28IZ3KwhQPEREREREREf0DNTU11nd/D5MSRERERERERNRqMq0gH3/aGrwxAhERERERERGdE391T0YmJYiIiIiIiIjorJKJCPmkkuXLl2P16tUwGo1QqU688QQv3yAiIiIiIiKiVjvZ5Rvr169HbW3tsVYS8qklLi4u6Nevn/K+GZMSRERERERERNRqJ0tKnKk2mZQwi1XafigTK3ckocFoRNfoIFzeMxZ2NjrrGERERERERER0NrRMSpzsEo2TaU5FtKmkxJG8Etzz7iwcFn/1Wo3YGE0bRP6Va6nXqnFZ9/aYNLwbOkcGWqciIiIiIiIiotaSaQX5SNDCwkJkZGRAo9FYh5ycyWRCVFQU3Nzc2lZS4sDhPDz40WzkFldAp9VALZMS8k6fKpXykskJtegp19hktqBdsDcu7xWL8QM7wcHOxjoXIiIiIiIiIjpTLZMSmZmZZ5SUiIyMVJISF9XTN/JLKvHmjN8x6MGPsG5vqrXviWTrCI1adSwhId/LZIRGdGvUGujEBnKw0SG7sBzfLdqM0U99icse+RQvTVmitLYwm9tMnoaIiIiIiIjognXBt5RYuTMZM5Zvxcb96ZBXpsiEg5ODPd5/YBwGd45qGslKtpR4+JM5yMwvRYCXC8YN7AIXR1ss356ExIw82Op00GqbnpEq5yWTFbL5hJK40DS9h9gaZpMZ0cHeGN07Dpf3aq8kM4iIiIiIiIjoRP+kpcQFm5SoNzRi1GOfICuvWLkUo5l8dIiDnS0++M8EDOkWY+3bJKeoAvlllWgX5H3C5RgmMV1aThG+X7QFO5IyYRJrrZWtJzTWJIVMTMikhNDUskKNOrEMhkYjZjx/C/w9XZRhfzZvzlxs37YNrq6uuO3OO+Dj42MdcnKLFi7Eot8WorHRgHv/7//Qo0cP65CLX35+Hr77+ltkHD4MP39/vPLG69YhRERERER0KZOt0b+YsxKf/rwcjUaTUomFcqqYTs+i1E09XBzxyZO3okdcuLX/haVNJiVq6hrQ7bZXj3t+qSSTC052tvjfIxMxpOvxSYm/o6q2HnPW7cPaPSnIKa6AjU6rfCVqGgwor6pDg8GojCdbVjx/y+WYMLiL0v1nr7z0MubOngNfP1988dWXCI+IsA45uR+nT8f0adPR0NCAl155BYMGD0J2djbuuOVW1NfXY9KNk3HXPff85U68EGVnZeHNN95EclISQkJC8P0PU61DiIiIiIjoUrZ1fxpG/N9b+P7Fu3HtsJ7WvnSmbnz+M+xNycSBX96x9rmw/JOkxAV9XYLZZDzhZREvk9l0QrLiZMorq1FSfvJnpTrZ2+K2Ub3ww7M34acXblWSEklZBSgsrVJaR1gbTSjOZv5u8k03YdmK37Fm/TolISFZzE07sKa2FgZDo9LvYhQUHIzPv/wCq9auYUKCiIiIiIiOkZVWWYeTT0mkv0/eUkA+rOGCbFHwD13QSQmLKLQWs+m4l1n5e/KEhMlkRtLho7j3pY8QOHgiOo+7F30nPYRO19yLiY+/gbXbE1BTV28d+w/ynhJaTdN9JlpFTCgLx4oVKzD2yqvQvUtX9OzWHb179MTIy4Zj9s8/o9FgUEZdMH8+enXvgc7xHbF1y1a8+/bbuHHiRMg1srGxwexffsHQgYNw3bjxWL92HZ564kl07dQZY6+4UsznF4waMRI9unZT5iHnf9XoMVi+dCmMxqaWHY2Njdi0aRNunnwjeollkMvRvDx9evbE5BtuwJpVq5Rxc3JycOfttyvD77rjDnz5+ecYIj5bzl/Ou0/PXrjlxpuwPyFBGfeF559Hv959jn2+HH79ddeJ9diizC83Jxd33Hqbsrw3T5qs9KN/h6HmCOZ99TWW78pUurN3r8HvGw+iWun6J0qxce40fL8o0dpdi9Rdq7Fi2xEY/zoveNE7vG42vvn2Nxyxdp8LlsaD+PGz77Fyb4G1z8WvdOcCfPPDr0htsPY4rUYUpG3D8rX7UFbbRguVyYDNP32Gmb/vRoW119/RUJKJX7/8DMuT8y64QKQ6by9mfDEDe/P++dHm4lGOldO+wbx1ydbuf1FNMXauXo6dmSUwWXvR2VexZyG+nTIXSXXWHkQXInMd0jYvxWOvfI5xz36D2974Gv9bkoAygwnFGQnYvD8D1f/0Z9VciV+nf4/H5h5AU03j32BBXXkRDqRmY096LrJKa6z9Rb3QcnbiBFNDLQqKK1DbcqUsjSgqKkVRzZmfIDbXVyApMw97U49ij3ylHEXC4WKcWNukv3JBX77RcdIzsFgr283k5RsODg74+IlbcVmP9ta+TfYcSsVtz76HrLwi2Oh0sLezga1eDwd7Wzja2ylP3bj7+jEYP2KAdYomJRU1uO+Dn0VByoZep7X2FWVTbBl5+cZ/b7kc153m8o35c+dCb2MDd3c33HTLLYiNjVWSA2vXrMXcOXOU9wMHDcJrr7+G1atX49WXX1Eu35CtCsLDw3Fg/wG89N//wiDWddSoURg3fjzsxPI6OTnhvXffwzoxH51eh5DgINwsKv1B4m9lZSUW/rZQfMYaZV5jr7kGTz3ztFheLebPm4eli5dixMgR6NK1K+zsbFFRUYGVK1bit19/VVpl9O7dC8+Kz3z+2Wexb+8+6MT2iusQh4mTJsHb21tpdjNr5k84cOCAktGUSY927dph0uTJCA4JRnl5uVi3udi2datYPyPGXDEaD/7nP3jy8SewZ88edIiLw/SfZlq30qXNUp+Lbas24EitLTx9XGEsOoLsMlu0GzAMA2O8UHxwPX5buQda/wA4OrnAVVuL7Mwi2Pl3wpDLesDLUoZ9v8/G6hw9/D084ebugMaybOSVa9Gu/3D0ivYCajOwaOZKOHQbiRFdvbF19nQkmNph4g394VRfgkO7NmNTYhHcg4LhbCxDTqkZUb1HoEeEPQ5vWYadWQa4e/vAxpCPtKNVCOw0GP3j3ZCftB3b92SiRuMh9n80YsLccXjzEuzX9MPtV8ZBXV+OxK0rsfNwDdwDgqCvzUFOhR7t+w9Ctyhf2JgLsXzKz8iAB3x8XeBko0NpZioqHaMwZMQIRLhVIm3bZmxOrUFQeABsGkqQXdCA4O5D0DPSDec+j25EefY+rFm3DxV6LwR76VGcnQuV2PZD+3dFzc65WJGix7Dbr0SopRpZB3dgw7Z0qLyC4a0V3flV8Izug2G9o+Cgrkf6yulYXB6HCWP6wddBzL6hAtvmT8dBt/4YN6IzXFXl2LdytahQVCj7wslShfLqWhQXNiK67+UY2un096Q5W4qTt2L99v2osfEXZUqNwuwC2IZ2x7DBHWBfWYA9m1YhIc8MvyB/mMqyUGRwQceBQ9A52BWWmgwsnPYbSuy94OnlChe9CnnpaWj064bLh3aB6Wgi9u/dgyOVKviGtEO7Du0QYMnDxq27UaPzhqerCsVZWajW+qPf5SMR7daAlHXzsDwrENdfMxhuFWvw/dxDsPHyg5eLI2zUVUhLL4ZPfH8MHRgLeXefiox92Lx9D8q03gjw1KIwKxdmjxj0G9QHgbal2P37b9iYqYaHgxY2bn7o3K0rTOmrsSNHjYAAX2jqCpFbakFM7wHoFPwvNBk0GbBl9nfI8OiN0cO7wMVQiO2rVmBXrh36jRyKeJss/LxgNXTd78b4LvbKJLUpG/HLigMIG383+uhzseLXBSjUecLRzRVuYpTSrKOotQ3BgOF9ES6OCTDW4ciuddiWWgx7L384qyqRlVONwK4D0LNjCJwq9+GnWRtQYe8jymE9nGMGYmCo+B2ZtxZV9v7wc7UTvxUWZKdnQ+PfGaNG94aX+ALWFaRjx9bNOFLnjGB/J1Tl56BK44MeQ4YgpP4Q1u5JRnZWBVzE75JfSDz6dfBBVe4hrN+wF5V6V/i52aL8aBbq3GIxpF9X8TmNSN60DrszauEfFghdnfjOF9chuMdI9Al3Utb9XKsrysCebZuQWmWPoAAX1BbmoMzihW5inWJFecrb+xvmrC+Gu48n3N2coaovQHq2Ae0Hj0TfEAsOJCQg6cARGBx9ERgZjW6xMXBrzMSGLTuRWaGDn78HGgqyUKz2Qa++A9HeX4/0rUvw+/ZcuHnbw6BzR5deveCUsxmLt+bCw98dDi4esDOWiH1WC8+Y3hg2MAYO9UXYsWwuNpU4wNtGDzvvYLSL9sWhRQthP2IChov3hftWYUNiMRwDQuCOSuTkVMC5fV8M6xyAxuIs7N62ASkVYj0DXVFbJNbTKD5brqe33b9wVsoojvf7sHZTKrSiTPo4mFGQkweVb2cM6tseJetnYlmKLS6/ZxzClPFrsH2eiMXqwjF58mCY0nbgt6WbYPL2h5OzG9z09cjJKoDGIw5DR/SEr64eKat+xqJ0C/w8fUQM5gBzVS6OFpsR2ecy9G7vBzt1I7J2rcHGhCxo3IPhrqsQ27gG/p36one3aLiJMp6+WizHwSq4BjiLZXBFkIcrGoqSkVZigo84hsW0i0R0qA90yjISXTiqD87DlZ+V4MGnbsC4kJbHTxMK0pOQVO6Gbl394aiqxcHNOzDvUCVsPP3Q27MOac5RuD1UhyX7k6Eyq8VxvAS5ZnvxO9sVA4Nb3EfPXIkFM2ZjvX0fvHdtAHYs3odqXxEfpmYjsU6LAf17YGSU2xmf2N2SkIrh97+Jma//H64a1M3atwVzBWZ8/A0W+lyGmRM7iziwDul7E7DNEowJ7WyxaU8WvGKiEethZ52gdUpStuCTZTm4fNI4sT2sR0PDUbz/6VKoeo/Co30Dm/r9hZKds3HrYhfMenEEZNh3rt3ywhfYnngYiXPePast+c+Wf3L5huYlwdr/giJvfvL5L8uVSzXkCja/ZFJCLyroo/t1QXiAqIy1kF9UjlVb9qCuwaCMJy/D0CtP3NDAKFbaKPr16tgOcZGh1ima1DU0YvGWg8ojR+WNL1uSjxId1DkScaF+1j7HW7d2HRITE+Hi4oIXXnwBV1x5JXz9/ETgG4A+ffuIzzVi987dyBJB+PARw1FaWqpMI3fC6DFjENehg5JIUJIXouLft18/jLnyCiUxYBbrK5MOR44cgYeHB2bNmY1YUdn38fVFcEgIBg8ZjOzsLKSnp6OyogJDhw0VFVZ3ZZ5jrxmL+I7xotsNzmLZ5Pzk8sgkQ2pqqtiGNuggxtu7dy9yc3MRHRODqdOmKUkSebNO+ffyUaOU1hpFhUXic2Px/of/U5Iccri8Z4QcvnPbdmSJZZDrIKeRrSrk/OTnjbt2vHUrXdpUGgdRec9DTl45KquqoHaLgDfykJFTD//4cOhKspGeVY+O112LIbFRCAtvh85dw1GZuAnrDxrQsb0nSo4kosi1N64Z0x+xEWGIju2Edl4m7FqxAsVeUQhybERqQjr0/pGI8HNAXmoSSkVA3CXGEQmrfsPmqmhMmjAKnaLDER4dh86dOojAy055RK6NCARzcvNQXlmFeq27Mt+kIwVwDOqOuChnlB/OQIVTPK4Z1hGOtrWi0nIY5boQxAfZI2Hpj9ivE+XtWjHvyDBEte+E+BDRf/liZNsFINTbBpkJKdBF9MHVw/sgMjwCsZ2ckbopEXWO/oj0MSFxTwLyKlRw9fVHVLtu6NG9I0LEsp37gNmCiqObMHdJFtoPvxaj+sYhLEx81zt1QVy4H+y1ouKXkYgjZTrEdAlB6a7fsXifFmMmXIs+8ZEIj2qPLl0CULRnFdYcsUW3cFcxvyRkNHqjfWQgHGUEKyqj+emHUGYfgnbhXkhb9DN2VPrj6pvGoluE2BeR7dA+SoPU3TlwCIpCuK9j06KdQ6X7lmLB5lx0uPZWjOgaLb63UYjv3BntQ72hry7Aht/mItd/IK67cjDai7IWE9cZ7dwbsG3JSpT7RSLAwYC0AyIo6DwUVwzsJsqrCNijNTiwMQVazxDEtouAc00mUsvt0W3kcLT3tIPeVoPqwnwUllWgusYCD3HsNpVn42idD+JD7VGWk4asalfExgTDtj4L+zOMiB98NQb3EMsX2R6xotK+MbkUnsHt4JCzFvNWpCDw8vEYGh8Bf39RUesQL/pvEZW+fAR2CkZ9RgrytR1w/bUj0CkmDG7mEhzafwDZtXp4+wYjplNX9OgSB39REf9XftQtJhw9lIAqrS1q8vdg8bJUhAy9Wmy/TvB1toWqplB853LE97cLYnyaqj7GshykZJfBvV1nBGgqkXogDR79R2FM786IkOW0czxc6pOwfN1RBEcGIXf9T1hf4oOhVw5Hx9BABIZEid86b2SuW4wkUSbD/cxIS8yDe8cxGDeyN6ICXKFvzMfB5CL4dLkSYwZ2EGUhGl08arHjQArUPl0QUHcAixZtgKrraIzpE4dA/0BEto+Dn+EwVv6+Fy6DhqCdvQHpKaWIHjAUvaO8UJO3FXMWJiO032jlZtSBAUGIimsPp8rdWLKlBEFhLshJ2Iej9Vo4eweJfdcFPbp2QrD78TenPlcMhSlYsWgVDB1G4Iq+HREk1iminVg3ZGPN0p3Qx0XDoewwUsrcMXT0lejRIRyRUTHwFdtiS7YaodGxiBHf9XyxjVSBXTCqfxwcaw5h9oL1MIePxlWD4xDsH4CI9h0Qpc/A4lV7oA+Jh1P1YRwutMXQG67DwPho+DjboOSoKPflzhgx8Rp0iwoTx5Q4dOnoirQtq7GrxBOdQmzE8SMJZe79MGHsIMSL/exkKBPbOwO24nsR5m4ntuUmJBUDLu6+CI/rhO7dOyHK3wWm4jSsWPg7attdhiv6d2paT3HsD9bmYe3S7VC3awdfm3Oc9rU0ojj7AA6mlMPG3QPB4fHo1lP8roR5w0Yc4Muzk5BVaYOILjFwVSYwIj8tBcVmd3SIC4alPB9ph8sRM3Y8hsfHiGNNDDp1iULjkW1YtbMKsbG+qM5MxFG7jrjqisGIF9swql1HdAiwwf4VS5HrHArNwUVYcdgGQyZej36xEYgQ27hr5ygUb1qAnUV6MU9f1GcdEscGDwydOB7920chJDQIrrVZSCnRofPIyxHn4/gvJMiJ/j69d3vcMkIcX6uzsXblcrw5bSW+2VKIvv3DUbZzHRYd1KJjFzssfmsKNoUOwX+v7op+7XxQtG0FPi9xw2R/E75ZsQ2unYfg1sHx6OmZhamf7oKuezxCbK0fYmlAUkIiMnXBGBkLLPpmNQo7Dcedl8ViWFgFXvrfajh2aY9IhzNL2x0tKMX0xRsxflhPxIT6W/u2oLJBiI8aiUvW4ZWlu7ArLR8+0R0wuoMfdOWZ+GTxFuiDYxBwdBkmfLRFxKrBsGvMxryvp+O+tZWY1M0JX334Cd7aU4+4QDeUp6/Fax9tAmI7INLpj8iyruQotqdVITK+PQLtrZGAqRJbtqdBHRSDHo57cMcDP2O/nTMiRUB3aP0C3P9dAmL7xsNX90fkUJebiNmJKvTrHgiVqE/KOmWDyYyy1JW46/FFyBL1sihPJ2iqU/DVF4txxMkPPloD9i2fgxe3G3BFvD2WzJqDhRni98XbDsVpG/HxzB2whIljnuOJR54Fa3Yip6gM/zdhxAWZlJDkyXiZmJAnxOXNOU9H1u3dxTays/s34v5WklfLmM1N95A44WU+edOdyBB/3Hz1MLQPD4ZWo1GSEdW1dcgrKhEVfjMu69MF3UTAcdZZoLQ0CAwKsvZoIneEvwhOzNamRrJCKjd+a8ing8gd1pKcl7zko/m9HKeurg5vvvaGcmlFh3btlUszBvTtq7z69+mLLZs3w9a2+UjzB9lC5M/LJrvlU0Xk8tvb2yuXufyZXG/5uXJSeW8M0WEdQs1SVk7H0gSg3+TJmDxpEsaO6IswN7HdjjucyBLf4uvYWI968aXWODgdOzsjt7Gq5SiGOtSb7eBspxFTnqxciXmqtNDpbWCpqUZDi1Gad7UhcQmmrkhDyMCbcKNYvuuvHomeIU0Z8uN2ZfMHt/h8Wb5tbbVoqDPA1KIdsckolsuoha0oU8eWS5Sh5m+tvPOyQn4v1N7of9VNuPvO63FZr47wUOdizdyv8cW8Xaj7F26votHZQWeuR53h+OsM5KViLVlESKrT2ULTWIta8WNzjHxCj/gB0svvptxgYsOKb6LYNtbhWm3TelrJpKeyfZqu5lKIb0/zVvpX2NjqxWeKH4zqlq3QzDCKhVCJ46aNrQb1tQ3HLVOjLI8WHex0mmOlVjahPGGfHl9ooJYNz8zZWLlgHvZaOmPSpMmYdMM4DB8QCw9buZFajn+8lsf55tlLWr1ObF+5zezEstoqx0UbG1tEDpuEu28aDh+LSVkuuSjNu1HlHIAB427H/TePx+AeMXCqOYKVMz7H9FUHUPGvtIEX20IjKmgl9XBwjUK0Vw12bd6Pouam4Uq5EVp8wZuOty33gvhNtLQ8aphgqK+HRaMVk6nEd1Gn7Ae92Ca2YpvIFnJ2boEYfst9uKZHCGwM4rfTOuWfHdcc1npwkJ+jEt9hscthNOthK7ax3Nbyr1+3UbjzvusRI8pz05I3PbFKUmttxTHLBIvWRvmtUaaxdUJk7+tw301D4Ovsg37jb8Xdt0zA8F6xcDblYMVP3+D7+btxRlf7/EMaERfoREBpNIvy3Lx8Yp18Og7H7fdPQpy9TtkE8nt57N5VsqzLfn8qriqxv5S1FtPLGNViEcfEY9vJBi7tRuKeOyeio4cZjbKctSyUzeS+/2O3y7MkMBhNsBPH/mZysubDzrF9qLzRoP2Im3HvnZMxelBX+NtUY+dvU/HtrFXIE4G9rXU97Y/tB1t4dRiK2+6/EZ2d9MpszimxDEHxo3DH/bdh3IgBiPFVIX3bbHz27XwkFxmVJ6Apoyn/Sie7jFZsH1HujzEZxPHTAI2jE2zFhpGbQdlfLUZpFMfYOpMtnOzEutvrxTHXgIaWbanNdag2qEQ50EMeopq36bFte4z83lrfEl2ASjO245uVqYBnDK4efyN+eOEKDKg9jG/25EPfHIiI76GzkwV5haXWS76qkV8u4jb5vRKF3iLiFBtt07gGcTDSielO/B7+Qcb89iKOUIjjkoxrTjf+36eCS1gPvPHm49jw/oP47P/Go3vJWox8cg5S5PFM/C5p1VXYtDUXcaNH4coYDwT7xeCGYWHwcBC/SeK4bXb2wOCecejg746w8GiEuzeirPb4oFKn1YtYVcR/4nh7jAiL6kVAq5M/fGJbeHoF44oh8QjwcUev0SNxs3splu4rs478B62Yl5+zAzysLzd7W1FftSA6OgrDe0TD01GPI1s24sd8sR/278T0JZuxpdoDsbbVWLvzMFYlFiMrLxO/LFmPBfvqoHV0RXluoXV/XTou2JYS8lKGz2YtFb/fIpASAUHzS3bLiviVg3oizN/TOnYTGxGsdusQjZuuugwP3jhWaRUxemB3vPHIHXjklnEY0qsz3F3++KFvJp+0sWjLgVa3lDh0KFFZps6dOyE0rKkRoiRbQ6z4/Xfs37dP+bGbdOONKC0tOdZSYswVY5QWDxXlFUpLCdmao0uXLujRs4cS4MnLMuQlIBkZGXB0dMSNN9/UNGMrOY9NGzciKSkJTmL4mCuvxGsvv4KlS5col5B8N+V75ZKOO+66y/q6E8nJSUhOSlZaXvTr3w97du9GXm4efH19cPXYscrBppmc//Jly3D06FGl5cfQYcOUS2daWrp4MbKys+Hl5aU83nSfWNfcnBy2lGjBIygMurIDWL96D9KOpCI9swilJQWoVrkiJj4cmuJspGQWwthQhISdO8U23ImtezLhHjcEo/tHQGuqR+GRFGRXNaA8Ixm79+7G7h3bkFRqj77igBzn7QCzoRQpCYeh84tEpL8Dcg4dQKHZDe3iIpQzpqH2RVizbDm270/Cob27sDetCPYe/vAMi0KgKh9bN67FwbTDSDucgYLSYhTW6hAUFQdfRxto6wpxJGkfdqUcFV8Ie5grc1FkCUDHdn7wiYiHP7KxftkK7NyfjP17tiOxUIceo0ejU4AL1KZqpO07BINrMGLCvJSzTRZzESee+dEAAFAcSURBVA7uPgrbwGhEeliQvns9lq/disSUFKSmZaPOLgQD+neFl1PTE3HOHRX0jv5o394T+XvWYPmm3eK7cQA7dhxAMZzh7+WG2uyDSC/RIKRrewT7hqJdgAV7Vy3D+l0HcShhN7YfKkVwz8sxsqu/CF41sHdzRU3KVmzauV9pkXRY7NeqqnI0OgUhOswHgZHt4Kcuwoblv2PnwWQcSk7G0ZIalBfVwuVfaimh9wxHbLgbcrcuxqrNCWIZ9mPnrkOo0nrCL8AbIWK/u1YdxIpla7H3UDL27dqBI/WeGHDFCLRzt4O5oVyUtXRo/SIQ4e+q7KPG+hwcSCiGZ0S00gLHxtaI7JREHNh9CIUmH/To1g4NSWuwencyDqelIzu3CAVF5VC5RyM+1A6lWaJ/hRNiY0JgW5+BvSlV8I5oj0C3psvpDHmHIG+5ERLZHn5+wWgf5Y2SXUuwfN1uJKUkI2HPbhzKrYeTjy9cbWTrlGTkGLwQH+0PvaxUy2s+t67Gyo2ifCalIiUjFwaXaPTrEw8vu3NdzgSLCVn796DeKxa9+3ZGbFxnhJgPYe68tSjRe4n1CoWnuhoHN6/EHrl8qVkoLCtFaZURXu06wV9ThfSkFFQ31infxd1ifXds34sq53hcMaonPEXlyyUkDmEOZdi+fCk27U5UyvKePQdRaHSAt6cbbEyFOHjwKLS+sYjxtya46/OxPzEXNn6xiPKzJqvLMrDrSJk4NnRBiJ8nIqLDoTq8DotXbEFiagoOiONPQnoJdO4+8HLUicBOheqCFOxNOIiDmQ2I7NoDXdt5o2jvGizbsANJoowniGNOcnYNnMTvgrOmFik712LFOnEME9/5tPQs1DmHo2//Lsq+ONfUdiJIjY6ELnszFi3fhANiGQ7u2419qYVQufrAWxx3asT6JOVpEBETKYJLUTosRnHsPYDUOne0iwqGk6zM1uWI7XkAu5LyYRsQh4E9Y2HJ34LFv6/HgeRUZZ4JyXnQinl6OtugPEcc+/NNiOoUDRedjDMsKDt6GBkF1WgsS8euXXuwb/d2cUypRlS/0Rga7wF1Yy1y0xKRrw1Fh3BPUckQZbmmDGmH0qAPly0ltMhL2IyVqzeKciOOn+mHUWLxRbd+fRDh4yXWMwo2OVvEem5U1vPAPvEZKeKL5OItjq82x1XkzwmzqAhkJmD1yjXYkXBIHBOPIK9cg/Y9+6F9kDPcvcXxUhxjN23Yg1SxfOl5xagsKUGt1quppURZnvjNFN9VQxkO7Nklfht3Y+vONNhHDBAVhXbQq+T8k3C4rB7VR9OxV3wvdu/cigO5KnQfNQad/J3hFNAeMV5GHFi9GOt3JiLxwC5x7C1C2KArMLBjEORpnTKxb2WLONlio7nRujyGHU07JH6rxPav08InyBu25/xAQfT32LkGoKu/FkezC5B8tBg5VfYYPm4Ergp2ga04RreL9BXHNEe069ULA1wN2J1eiIIacZwtTEaSLgTjO4cgKiQY0V4usNeqobV1Fcf8EIR6OiitmRQqLbx8A9Ap3Afu9o4IiAxDdIAzHGUmVid+t8X40d4usNOc2RfkL1tKmKuQuGmDqAOuwLS1B/DTuu3YWmiH/7tzDLrpy7F8Xyb8ojrj6v5hKFy9EG/PT8CCA6nIz8nDoUYvTOzmjV0JyYBvDHoHOomYpQw7RMXfXrbkdf+jNYeNm4hNREz3+4JF+HzJfsxeuwPL9h7FgNFX4YbO3lBVZmDJylSk5qdh3tJdmLp8H/R9LsPDg4KOu5SrLucg5ibpcOXQqBaXb5hRWZCGHUkWxPWNhmwA6REejV76PKXVZ7mI5+vF8bFT3z4Y3SkUXQJ0yBHH79QyE+pqaxEQFYpRfWLgeHyVVNGWW0pcsPeUqK6rR+zYB2CS95SQZxJEP41WB72Ds3i5iW4V+nUIwz1X90fnyIDj7gVxptJzivHTqp2Yu24f6hsalQRES3LLKI8EvflyTBjy1/eUkImDW2+7FT3Fl1/eg2HBvHn47beF4gfVgOHDL8OLr7yC1atWHbunxGdffI7+AwagoKAA999zr3Ltjbws4uFHH4Wvr68yv3ffeQdrVq9WLpmQT+1oSc737TffxIL5C+Arhn/5zdf4YepUpVvej+Kuu+9SLgeRrRnq6xvE8szFvHnzlcISHByMJ556Et99+y127dyFTp064jsxbcukhFzGRx96GFu2bFESJa+9/jq8RFDZ0oP33Y+NmzahfWws7r//fkybNk0Ey9t5T4m/ofjgOvy2Ig2d7piMbk4ntmKBCMj2LfsJm9EfEy/vCNd/4QQXERGdSyakblqIFQkWXHX71Qg8VgOgZmVp2/Hboj2IunEy+nqeJGFrrEbyiplYUdsRE8b0hvdJfj6JSFQSiw9i6rw92F9hhkWlR/ehA3Bz14DzUqn9y3tKnKHa7PV4b2UDRvWNgtZUgLWL9sF2yNW4r8fZuTeXIXcVHnvnKCa/dQt6X0DHlrZ8T4kL9ldQrVLDzdUVap1eOaPrFhgNZ79w2Dp5KFkXjVqFrYkZuOX16Yi96XWMePRTfDZ/PUoqm+/QeiKjyYz56/dh8is/IGriKxj95Bf4aeUu5d4Tf05INLEoTWijAo9vkdGSbL0hWzi4urjgnnvvwbp16zF54iRMumGikhyIiYnB62++gdfefFNpZSA3vmwSahZ/lUyLIBMOX3/7DW686UZl+JOPPY5H/vMQkpIOKTvTLJb7lLkj0V+ZnxwulvX5F17AG+KzIiLC8dGHH+GqMVfg8hGyCemdcHRyQmxsezQ2NCjNm+Qc5Xzl9KeaffP8T5e7UualzE/8Z31/6hnSn3nGDcLtD99x8oSEpHdDp6vux31XMSFBRNQ2aBDVbyzuv+8aJiROwS2yJ255+J6TJyQkrSNiRt2NB8YzIUF0OjrPONx19434+Imb8cnjN+CW85SQOJvsgwbihduGo0dMKLrE9sIjT9591hISkt5/GD758MJKSLR1F2xLCalRVMa//nUTfli6FeU1dUriQD6f9VTkqsibWdrqdejZPhQPXzsYXm6O+G7xFsxbtxfVdQ3iSyivfT31V1GZh/hceSlIv/hwvHjbKPi5yzsyExERERERUWvIlhKX3fcGfn7zQVwxsKu1L52pW1/8AlsPpOPQ3PfaXEuJCzop0ZJMFPy2aT/mrN2DnclZSnJB+6f7P/xZ86q1vCThZOR49YZGRAV644q+HTBhaBf4uDERQUREREREdDYUlVXhP+/8gKSMHEwa1Q8+7i0eP0qntevQESzcsAcPXD8Cj04eZe17YbkkkhJ/Ju8HMf337UoLCIPRDNn44a+SD83kGsvLHeToPdoF4/6xA9E1Ogh6ebdVIiIiIiIiOifKqmpQUFIhKqUtnv5Ep2Vro0egjztsWnEfxX/LJZmUaKmx0YTZ6/bgl9W7cSgjX7lXgk57/EYwmeVlGSYEeLpgVK843HFFH3i5nvs73RMRERERERG1ZZd8UuLP9qblYOnWg9hy8AgMjSa0D/XBFX3i0Tc+HHb6Cze7RERERERERHSxYVKCiIiIiIiIiM6Lf5KU4HOoiIiIiIiIiOi8YFKCiIiIiIiIiM4LJiWIiIiIiIiI6LxgUoKIiIiIiIiIzgsmJYiIiIiIiIjovGBSgoiIiIiIiIjOC1VdXR0fCUpERERERERErWY0Glv1SFCVRT5QlIiIiIiIiIiolaqrq1uVlODlG0RERERERETUav+krQOTEkRERERERER0XjApQURERERERETnBZMSRERERERERHReMClBREREREREROcFkxJEREREREREdF60raSEoRIH0/NRYTr+zp/VxXnYX1Rt7boImatxOCkZ6bkX8Tq0gqm6EMkJu7Bjxy4cSM1BldE6wGyC0Xw2nmRrRGlmOvLKG6zdRERERERE9G9qW0mJsoN46YvlOFjXXHttcnjjIjy7Ns3adbGpxdbPX8Gn85Zg1ocvYW5SnbX/+VSL7TM/wxe/7Ma5qc4bcHDhB3juvUXQR3dDjx7dEOFUjZQ9e1FsAMozErA7OR8m69itV40d0z7H0j0l1m4iIiIiIiL6N2leEqzvL341RzF7cwHC2gfBrqEB5dV1yutI0gFs14dhUowK07+dhm/2N6JjmAeqDm/EC5+uQUlANDrk/46hbyyBTUgMAquT8czbUzG/SI/ufrZYMvVbfHjIFld2dMCyb2bgl1JH9Ax0RkX6NjwzfSMcg8MQ4qy3LsSpVGPLtHewIMcXnSM9oFVZe5+WBTlrvsUX+zzx8FP3optbDubN2gLf7r3gYwccXvo+Xp2ZDP8OEbArS8DC1TnwD7LD9h/fwndb6hEe44PGzC1YtqMentiPz9+fggLHCAQ4m7Fnznv46vcyxPcOxqZXHsdqY0d0DXeGqi4NX772A9KcQxGh2own7/sQR91jEO2hxb7Zr+CttRoM7+KG1J17kGdyQ5TY1vZaNU6/OtXYPO1tse5+Z7juGngGBaL+8AZMnzITS9cmoNQ2AJ27dICPgxbZa/+HLzNCMCakFtP+9xpWFXkjOsARhQnz8dyr36I0eAjCUj/Gg28sgC6iI3xsirDo07ex5KgrOsX54489VY/09etRE94fIeZNeO2+j5DlGYNIsa6Jc97AO4sa0GtAJMSmJiIiIiIiotNobGxETU0NKioqoFafvv2DxWKBu7s77Ozs2uI9JXQIC/FBqJ/HsVeEmxZajRk1GVlIaHDH5Ct7IdDFHgGxfTChixYJ29ORL6ZzCorAsPZucPNzhburB7q0C4Gfpxsig53R2GBCfcFBTEmrhbE0E9MXr8O8xHrEBHqjqsZ8BmftHdHn5ofRs3gBvpi5GaVma+/TqD+yAVN/3ASdixlbF8zGhlQjNKVb8d3stSgzFmDbqgz0m3gr4j2d4RzQA9eO7QmbmhTsP2TB5deNQoizM7yiB2P85SHI2H4QlqgrMLpXMJyd3dDrikkIV+3Alsxy2NrYQKfVNH2oWgudTge1SiUKigZePrHo1zcCjk7OiIwIBurq0ai3hZ2NDnobB9jbaP8iISE5ou9Nj1jXfcsZrTvsgnDlPf/Fp199hU/efw639NbjhzeewZx91bC1tYWNzoySrAMoMUThipFd4OnshNAOl2FwJw3MYv7y4g59lyEYFOUDJ+cAhPu6wba2Hn+6sucYsxjgGxaGHt0i4CTWNTwqCqaqBhzf5oaIiIiIiIjOpjaWlFBBI9aovr7R2t2k3iSqzSYzHCI647krI7BlypcY/8zXGP/SVGzTd8VzN3SEh1FMIyrizWRmR23tVIn+KrMY7tsLUx/sC6+SbGw7lIX9KRlocPdEv3AnWKv0p2FCRUEZIiY8iYcn94X7X2x5S3UW5k37CaqRT+Kdp+7FxIkTccPN9+CN955HVPovmLGuDuNffgq2a97AE08+jsefeA6fLzoIrWcv3Pafq5H6wwt47InH8MTTr2LWtkp0n3ArLvc5iLeffgyPPfYU/vvp74i46klcGeaP9sO74/Bvr+Oxp17A598vQXZZPXRauYAqZTsc2yoquU0sMMMeoVFeyNv4OZ7/ci0q/rLmLta9sHnd+/zlusNiQk3ufsz+5l3899kn8PjjT+DpT1Yh5pqHcWW8I4xGMyxGNbzir8D1YwIw7/VH8cjjz+CDaUuRWCyWWS6wXNbmHSiolGX/o7uZSq6fMv6f11V2nzg+ERERERERnT0qi2w3QXQxqsvFmuUrkYkwxPrpUHpkGw4WBmHc3eMQZmsdh4iIiIiIiM4pmVaQl24UFhYiMzMTGs3pT9ubTCZERkbCzc2NSQkiIiIiIiIiar1/kpRoY5dvEBEREREREdHFgkkJIiIiIiIiIjovmJQgIiIiIiIiovOCSQkiIiIiIiIiOi+YlCAiIiIiIiKi84JJCSIiIiIiIiI6L5iUICIiIiIiIqLzgkkJIiIiIiIiIjovmJQgIiIiIiIiovOCSQkiIiIiIiIiOi+YlCAiIiIiIiKi84JJCSIiIiIiIiI6L5iUICIiIiIiIqLzgkkJIiIiIiIiIjovmJQgIiIiIiIiovOCSQkiIiIiIiIiOi+YlCAiIiIiIiKi80JlEazvL36mBhir0wGNFiqNrVg7a38iIiIiIiKiC4HFDHNjLdRqe2gcgkW99eJvKyDTCjU1NSgsLERmZiY0Go11yMmZTCZERkbCzc2tbSUlTFVHYFGbodLaiq62k2shIiIiIiKiNkSlgqW+AmobX/Fyt/a8eP2TpAQv3yAiIiIiIiKi84JJCSIiIiIiIiI6L5iUICIiIiIiIqLzgkkJIiIiIiIiIjovmJQgIiIiIiIiovOCSQkiIiIiIiIiOi8u6aSESq1CfVkGkrbvQFG1UWwNlbW/FpbaYhzZuwlpeXWyj9L/wqeCxViH3KRtyM6vgUXTcrktUGl00NjYNK/mWSAfY1OFwvwKGCxnaSvJR+MYDSgrLkFVvUl2nkcq8Z8RlcWlKK1plFvQ2v8CodLAWJGN1L0pKDO15hG4cv+VInX7cuzesRsl1eaL7BHJKlGe7aDRioUWBUVlakBpQRmqDSbr8L9PbBE01lSisKgKjaLrAtvjRERERHSeqGS8eZLKycn60d9zSSclLGbAwTsKvvZ5+PX9F7DyYBU0eltUZ2/Az++/iT3VAQgLcoZa1OKbC6FK1NqOlTvZfVwNX3a3GH6MtX/L+fxpvKb5thh+/MAThon/reT7pmnVYp5orMLBlTOwN6kUFq3mWKVKo3dE8Z7v8cXzbyCxxGhd7j+mbXo1vT+ZP8Zp+QIMDZVorC9Hg1EZSfz/p/VQ1rNpniffBsd/nuwym+vRUFmGxkYTzGJ+cr2OTdM8XdPoJzjZdrR++nGffyLZ/8/Tit5GI4z1xWioaxDVVTn/P49nXT5lFqL7hGUVLznsz6zD/iC7Tzcf67AWVBotDHl7sWHBOuQ0mv/YTspf60hyvifZJvKrr9EWYvH/nsNeQ2/06N8XXk4a8aU4frymcZscW1el/x/9TjX+8eSwU4z7p35N4zUNUqY7YVs0jaPRF2PhyzdjypKj0GjUMDbWibJYgnqD+GLLeZwwXfN8W75v0rxskkmWZ1GuTUbRLcY7vvz9MZ50wjpZxyUiIiKitsNiseBoTgFSU4/AYGg8Fu+VlJQhKTkdNTU1jAH/Ac1LgvX9Rc9iKBe1BIuoGGitff6axWyGrW8cenQJwv6fX8OaXck4uD0dHW56AcNja7H4/RewJccJgRFBMOXtwcKvX8buqjh0iHPFkVVf4ueFRxAc1wnODlrU5+3A/M//hxKn7ggJcoRKnr2WrRPKD+LXz1/Csh3V8IyMhbMpG6u/ex4rMt3Qvn0UTAXb8cvHHyBbGyumc0HRrrn4acocNAYPQIinETt+fBkL11fBO7497KsPY+X372Bjngfi2vmjdN9s/PDlXNR7d0aAmxkZ2xdi2648uEf3RWSEG9QmUUET1GKb1OTvRdphA4K7doO3swY523/BrKm/os4rVkyrQvKKbzFn/hroQvrC312lJG3k8qtLE7Hos4+wwxCOTtE+qMnYiU3bEqEX20196GfMXZCPoJFdYdw9B7O+/AnFLrEI9tbj6M55mPPRJ0jRRSMiRI8Vb9+B5btq4RASAw+bCmz45hks32mLqN4RsDU3nelXazSoLdyHhT/OgTZkMIJrVuHTt95CUqkX/CNCoM7fhFkfvowUuwGIC7RXppFkRbU2Zyt+/vAjZKgiEBzgguKEpfjl289R7D4MkfbJmP/xS1i+pRg6v1C4O9pBJ+rgkkZlRsHW7/DNjxvgHjcE3k5VSF79Cw5URyDcJQ/rZ85BmkM0YvzU2DHlRSzcXQOfqBjY1edizdRn8OvK7XCMHwvXjNn4/n/v41CVHwLDA2DMXI9fPvoMR9w6I8bfSRTNpnVUqTXIW/UZZszJgf+gOLhaREW2cjdmvPMSikKuhkvOAsx47x2kGUIREOKLxtxt+PWz93CoMQhhEQHQW5paAshy3liYjP0Ja1Fc4w//MD+gYC9+++Jt7KwOQ8doX5QdWoJZX81AhUcnBHnrRJn9Hr/M3wS7iN7wcS5H0rpNsIQORmyoPWpSV2DmV9ORhWAEBzqLWc3Hz1/PRY1PB4R4qLH/p+fxw5xtqHcJgaeHKFsVhzD3w9eQ0hiNkHBPVOxfjJ++mYoKv34IF59lXV2IXYq83fPw89R5qHGPQ4CHBhlbF2FrYiMCIuzENn0NS3dUwSsyGnY1R7DqB/E9THVETKcw1BxZgh9eeBOp5kD4h/jDnLMB097/ECX2PRERrMLhLRvR4Ncf8VGeMIrttOSHtTB27AT3hl2Y9tRzOFDjCZ/QEOjK9+Cnd17BEXVvxLmn4ef/fY9Mr3hEeTlCo6/H7p/fwm/bLYjvEIySTT9h4Z4GRPZuj+Rpj2HWnO0w+cTDXyx38uL3MWtWKvz7d4UmbxvmffQ+UkxhCAl2R3nqWiz48A3sKHJFSFwUHFUmJZFFRERERBc3mXBwcXaGs7MLjubkoaCwCMXFZXB0dEJQUCD0Op0Y629GfjKJYWyASivqjVo7a8+LW2Njo5KgqaioUE7snY5M9Li7u8POzo73lFCYjTC5ROPK/zwA56JMRI57DD2inHF4zXc4qhuOKyb0haeNBY7B3THhmmtRs30B9pdZoDnhrHvzmVRr5zFmsdEDEDZ4CMI9tdB7+MEvOAQor4Kxvgb7l32NSttQaEs3Y/38n3AwuwG+jmokbtqK/aJifzCtHt7e1UhePhNr1u2A1t0fdbvWYfORbOzftEZUkG5F387u0GrtEdp1OKIDzLDmIlr4Y1nV8gx7eRb2bdmK4CF3oG8nb2jEtHFDJ2JQoB67tm1GmVHfdJmHyQiLZzsMmDQJ7Ru2Yt7Xn2H2bytQrXaAnU5+8eTZYS201UdxeGcKdH2vQ7+u4ospvlhhHfshNjoMRpOoRItCZ9a5IaDTcMQH2UJj44Xo6BhYqstRLT7n+ILYtKzNm1FrF4v2w3rBx9YMh7B28HNxRENZddMXuZnZhMRV04B2t2LkZdFw0Kjh33kUrh3YFanrFyKvTiyjKhARl1+BLuFusNFajlWaTdDAs9v1GDeiPXJWfonpn32LHUca4GTXtFTKsohXXeYGJOTr0feqGxDqAuhdA9B72HDYH1tSUSa03dFpZGe426jhEhQJX68G1JbXic9qsaySdZ5/kN2i7Mi3ojyavbqhd48O8LBTwTWiLwaN6oWiXRtRUlgv9l/L6Uxi+3dVPtPTRgX74F4YMWYgGjetQ0JxBvatmguTWwAMh1dg9YK5OFKph7uxHHu27UIFrPtY7D+VqRh7NqwEOozFiH4xsNNoENz7WgzpbY996zahrt4kFssV/vEj0LN3JFx1Jhxc+imKNGGwr92JTfN+xJ70Cvi62SN51QpkGXWQiykTMA3lmdi7YQMCBt2Bfl28oVXrEdbnaowe0xM1e2fjUHEIhk+8AiGuaui9YjBq/I1wOrIOWzMrlP2q8Y1D5+494OWghp13O4R4G1BbVQVL8/ZStl3zX/GSb8U2VHuGI67HAPg7qaB3a4cwfzPqxQHSLFZa3TyeVfM+tnb88V6UTPuYUegfK75fOkcER8TCwdyAqvpyFO7cgsqwKzBwaDwctWr4RPZAj64dxHfvhC8fEREREV3kLBYzKqtki9oGuDi7Qq/Xo6y0FIaGOhk+0j/ApEQLZlEBNzYaYJI1elM9woY9gBibdaIivgiHC0qRu285fpi9GN6X3YgubjrYOLkDRYeQnHYEZbnp2L1uOQ7nyzrNn7NkFlG3N8LUXAsWLDIRYhQVSq0t4sT8HBoKYHTqiB6XjUKP7t3gFt0ZvUcOQnzXEYgKtUdxiSPCe4/AgCFDEBQUhqhx12NgRDC6XHYFCjd+hd9XJ6O0OAcH1v2Kgxlivn/K1IkquKhU2UJd///t3QdgFGXCxvFnS3ogBUIJoffem4IiggVOBEVRUewd+53Y+1nOXvEUUFFBRHoTEQUEKaEISC8hEJKQkN63fjObRUDR7xDvloX/727Nzjt9dhLmffadd3KUsX+XMstrq9t5/ZXx3Xua//1m5WXv0/JpY7QkJ0q9zz5L8bYKmY0XzFsEvAe3aeW3y5Qd3UnnXDpUfbs3VvraZcrIMn8BPXIbx8wZXVcteneRdcUEff3dOuXkHtCmHxdo/bYUhdjNlivmMXAaFbYjj4Hbdwx+fbTMJhrm8fJNeuR7H69R3zx6OT5Gxbrd3+5UxO6PNG3ycmXkZGvL9xP0xbLd6jDgMtUJL1eF4+jP4BCr162c9d/rh/UVSjxjoIYMG6SaZVu0ad1uuYwKrNf87IyKZmTDvurRJERLJo3WTyk5yk/drO/mzlOZ8Vvk+ztkLOfo/fmdbTVUja8mR8lP2rZmn/KyUrVk9kxlFuQbcxhLsoXInp2sRYuXKyXjoPYmz9b8WWtV/6zzVKNWmHGeHrE8r0Uux3IlT12qlKx8Za6boxkzliq6/wXqkFBXrc4aKEtBjkLqdFfPfkZZ27ZK6NRLvfp0V4wqfGmm2zjvZUtQ9/MuUeS2qZoyZ7mycrK0ce5YfbvGqjMH9FVUuMU3ne93w2S1qUX/6xTnzlRZeEt1PvdC9ejRTbGNWqvHkEGqbzN+j4zNND/jsLiG6n7BAGUvHq353xnnWk6G1s/9RF99tUxRXUeoS8Mszf/wM21MydLB7cv01ecT5exwkc5qEOs/R1y/BEhHH1OrcW5ZVLR/h9L3pynfaWYRv3femL/fxnzG56PIeEVHZikteYMOHMzWrhXfa/1P61Vu7JP5OfrWaeynOatvniMTPnO5Tpec9irGudJPNffP0dfTvtP+nDylrP1ey5I3ym4zlmPzatvX4zRx8loVmLd0+GcHAABA8DGvRQ8a13sej0UtWzRXrVrV1bhRA6NeVtcoz1dJafkRX2rheFm8ZruJU4S7KEVeq8dX0TcrL8fPvE89xNeM5pd6iHFy2exGmdn8xDxUR1VS/ONs5jijzPyG1KjYGLXEoyuiFmO5IUbF/IgKqtUeaizaLY+zshJrfqNsNZflO5mN5Rjr8bgqK0a+9ZhNgg41gfEYlbQjKlxmyweLv+Jv1LqMyY33HjNc8U/wC3M5ocYMxjrMbTT2wwwdzPl9tSajMuY1tvHITT/kqOnMffUdh8rOM61GBUwur4oP7FBafqgatG6ncGM/ynZO1+TPlqj2wFt0TufasluMY+M+vF2H5vU4jP3xlVSyGNNZzXsrzG302oxtNt6bYZFvIv8+eI1hY52/ZrY2sJrHyjyO5nYeOubH+AyOcuTnbDKPsVH5NPu0sJnH1my94ChX5q4tclTvrAa144zlZ2rzpFf0XVpTXXzHFaobaqzPZjE2zTiGvoX4t/V3Pwv/+o48d4xzIiP5S01bcEADrx+p+rWN+X9zPhzBaje2z9hXc/m/nANHT/t7n51vG0KN5R/5mfjOQ3Na8/gZFXhfIFM5rXlcLUaZ54jg5fD05nH7g+00HD7HjQFjOV7noXPNPPbGMsz7PHzbbxxr/zrMVjhWu9WY1nF4Wt8xNffBPH+Nc8huzGd+XsY+WMz35nKN32XzHDo8n5n1hBmLN+Yztq9yueZ2m+sz9tO3/W5j892Vy7Qa56Xx+VuMeSz+eXwOHW9juLwgXXvT8lSjZQ/Fhtnlzf5RM8d9oorWN2jQwBYK9xrLNH/Hf3V+AwAAAOb1tre8QNawWsYr3l8YvMxYwbx1IysrS6mpqcalvXlt//vcxjV4kyZNFBcXRyiBv45ZrSvOz/Q1Y/LVsSOqK75mTUUZdcGjvt0PVuYfDmepcjPTVFpeYe6gIuOTFF8tUlbjl+qv2EMzYXWW5iqv0KWYagkKM+rwp85v6KnFzG0qinKVc/CAXGbQERqr2Bp1VDXKcmqc7wAAAPjvIZQglAAAAAAAICAIJX4JJcwvtwEAAAAAAP7nCCUAAAAAAEBAEEoAAAAAAICAIJQAAAAAAAABQSgBAAAAAAAC4pR6+obXVSp3cYoUGiaLLcJfCgAAAADAycIjr6NYFoXKFl3fqJXb/eXB60SevnFKhRKHGbvEE0EBAAAAACcji8X/5tRAKAEAAAAAAALiREIJ+pQAAAAAAAABQSgBAAAAAAACglACAAAAAAAEBKEEAAAAAAAICEIJAAAAAAAQEIQSAAAAAAAgIAglAAAAAABAQBBKAAAAAACAgCCUAAAAAAAAAUEoAQAAAAAAAoJQAgAAAAAABAShBAAAAAAACAhCCQAAAAAAEBCEEgAAAAAAICAIJQAAAAAAQEAQSgAAAAAAgIAglAAAAAAAAAFBKAEAAAAAAAKCUAIAAAAAAAQEoQQAAAAAAAgIQgkAAAAAABAQFq/B/x4AAJyEKrJ2aeq3qzR33V5t2FuorFKX3DaraifEqWXThurZupGG9uusOmGV03td6frkxc/1QUas7rp9iK5sU71yRIAVJU9Wz1d+UvU2fTT18f6K95cDAIDgZsYKJSUlysrKUmpqqmw2m3/MsbndbjVp0kRxcXGEEgAAnLwc2vbDVF3/xlbVOe8cvTa8p+pGh/rHGbwOFeela9rEedqYeIaeuLi9ov1tIN2uCpU5LYoMD5XVUlkWaMVrp6vf2xtVrWUvffbgOYrzlwMAgOBGKAEAwKnIU6pFX47R1RNLdPn1A/Xi4HY6IpL4fR6npr3xjO7YWU9v3DtMw5pV9Y+QSnNSNHfBck1etk0r0hwKj7KrcaOmGjaknzqkztKV07LU/5pr9Wa/er7pc5Z+pu7v71GPv/XTY22s+vLrVVq1JVPb8lxSdKz69Oiie4edodbVIn3T/5FjhhIFy3XTnd8opUFL/euWTtry/Y+avnaXtqY7lG8JVce2zXXT5edpQLPqCjlJwhUAAHC0Ewkl6FMCAICTlTVSZ196nabcWF/rp09Ww8ueUtc7XtOQxz/SbW9N1hc/blGh69jfLdhCQhUZapf9UDMJr1s/zx+njrd9qnnORnr95SeUOu0FbfvsWc195ioNTMjQ9OQieRSuUNvh2r/FFqIqVo/2bdmrfdHN9PjfR2r22Oe0Y+qL2vLChYpN/UHnPjlD6/LK/XMcJ4tVEZF25eQc1Mq9Fg0aPkJfvfm0fp78gtIm3qYrE3L0wINj9OHGHPEtCgAApx5CCQAATmKWkKrqPugqLfz4We2f/JSS37tb42/vqUH1bVqycJEG3fqM6g5/QTdMSFah0z/TMTgLV2v0uL1qdWZPPXllDyWGH/kNhl3Vkzpr+Bnxighx+8sO8cplD1Wjdi3Vv0GsjmysYK+eoAb1q8qSX6ICt8dfevzcxipr1UzSgF6NVdXuLzTZYtWqXi3VVZlyij2EEgAAnIIIJQAACCp2VUlsoQEXX6L3Hr9di8Y+pE/7hGve7B/01uKdv19xN2r+Tq9FNqtVRzSEOAqVfgAA8L9GKAEAwMmqPEufvvqiOj74mWZtOaASx69bMThVtG+1Jq0sVLVacerYpNZRLRmOFBLXVTdfmaBVi1fo9ZnrVXhUwwavKgq26ps1+apwcmkAAAD+d7jyAADgZBVeQ9c8cI8mXlpX6xfOM97/U80ve1gJA0ep5uCH1fL6l3Xdx3vUfOhgLXzxeg1sEO2fUXJWlKuozCGnx9/+wRKirkNu1bqXL1CtPT/q4usfU9KQh9V+xJM65/7Rem2FVx3bVlVEqFeeI/rA9rqdKiqtUKnz14GIySOHo0KFpQ65/oN+s81lFZeWq6TCdbhVhtetMmP5JeVOY2m/5pXbZcxTUq7y3+k7AwAABDeevgEAwGnCa1TwKyrKFR5VxV9yBMduvf38NI1LC9XjT96pS+ryvQUAAPjPnMjTNwglAAA4TZRlb9P4rxZrysZsZRQ5FRlilV0eVbgtCo2tph4d2+reYWepXsTv3QQCAADwW4QSAAAAAAAgIE4klKBtJgAAAAAACAhCCQAAAAAAEBCEEgAAAAAAICAIJQAAAAAAQEAQSgAAAAAAgIAglAAAAAAAAAFBKAEAAAAAAAKCUAIAAAAAAAQEoQQAAAAAAAgIQgkAAAAAABAQhBIAAAAAACAgLF6D/z0AIEhlZGSorKxMFovFXwIAwcHj8ahatWqKjY31lwAAgo0ZK5SUlCgrK0upqamy2Wz+McfmdrvVpEkTxcXFEUoAQLBLT0/3/axVq9YvoQThBICT3aFLUPPCNCUlRYmJiYqKivKVAQCCy4mEEty+AQBBzvxHwPzDb7VafWEEgQSAYHDo75Xdbvf95HsyADg9EUoAAAAAAICAIJQAAAAAAAABQSgBAKeTwo2aPO4DTZqfrLVrVmv16srX2p+2q9A/yYnyug9q6eTPNXdVmrxF2zRz/Dh9s7vYPxYAAAA4jI4uASDI7d+/33dPds2aNf0lf6Bwk6bPWqNqvUaod31/2SGOAm1ZukAbS6JU1e5UQX6BrDH11aJRgnJ3b1FGbpHsCa10Tr+uqmZzKT/lZ63YsF0FFV553FYlNOuinh0bKEq5WjTjO6nZuepTL0dzZ69UeM8h6tuADuwAHNvOnTt9nfVGR0f7SwAAwYSOLgEA/xmzE0yPW2k/favvv1uohQsrX4uTd8lhjHI7KmRNaKY+Fw7SsKFDlViWoozSaJ014BJdcfXZCj+wXRu2mm0q7IpJbKxWLZqrabNW6taxpbw7lmplSpZcVotcFRVyuDyV6wQAAAB+B6EEAJxOzMZxVpvqtOunc/qeq3PPrXyd3bWxQn0N5yzyejzyxQlejy/19po/Dw0bP6whYSpPW6cvv5ijgvgW6tShrRrViJLXaYzjyR8AAAA4DoQSAHA6CamqWrVrq2TLXM2de/j19cI1yrGFKqZGHSXGR8nX4M5qU3ztukqIiVBl1BCpmklJio/wKjypowb0bafcnxZq3oLvtWxrusLNaaPCjGlDlFAnSQlVQyV7lGoY76tH/nETPgAAAJye6FMCAILccfUpAQAnIfqUAIDgRp8SAAAAAAAg6BBKAAAAAACAgCCUAIAgZ6FzSQBBjr9jAHD6ok8JAAhy5p/x9PR0OZ1ORUZG+sq4wAcQDDwej4qLi333FMfHx/tLAQDB5kT6lCCUAAAAAAAAf9qJhBLcvgEAAAAAAAKCUAIAAAAAAAQEoQQAAAAAAAgI+pQAAAAAAAB/mhkrmB0XFxUVKScnR1brH7d/MDs6rlGjhq+TdkIJAAAAAADwp5mxghlI/BmEEgBwCigsLPSl0mVlZb5/FAAgGJjfpEVHR/u+LQsLC/OXAgCCDaEEAJzGDhw4IKfTqVq1av3SVM5isfh+AsDJ6tAlqPn3a9++fUpMTPQ14wUABB9CCQA4je3fv192u101a9b0lwBAcNm5c6cvWDVbTQAAgs+JhBI8fQMAAAAAAAQEoQQAAAAAAAgIbt8AgCB3XLdvFG7S1KnLVRhWTXGRVnld5Soocqpm657q3amxomz+6YJJ8VbNnL5cEV2vUf/mdn8hgGDC7RsAENxO5PYNQgkACHLHG0pMn7VGcWeM0NkN/WWePZr12WK5mvbTkC5VtPPn9dqdVSK3JUTVk5qpdau6Mrueq8jeoXUbdyvf4ZU1NFr1WrRXs8QqUtkBbVi3SZmFDskaruoNW6lNvUjtSF4tS732alUvThZPoTYuWytXzZbq0KymrCrR1uVrlR/bXD1a1lB57l5t2bRDB0qcxiJi1bhlazWuaSxb2Vr3w1a5YhPkzc5UePN2alMnTjnb1mjj3mw5FGFUZEK1e+MuxXa9Un2bEkoAwYhQAgCC24mEEty+AQCnFYvxr4ZHJdl7tT8tTXt3bdS305coNyRBbdvVkdcSoZoN26pb957q3b2TbDu/19fLtquieJfmf7NEmdGtdUavs9XnrJ5qkVhFVm+RVsyZp20FVdX5zN7qc04vdW5SQ+Fh4Uqo7tTaZT8ps8irvPU/aE1qlnb9vFo7Dhrr37JCybsKVadpVe1JnqYvF2coqfO5uuCCC3TemS1VtnGWJny7TUXOcmXsSVWet4a69u2jdnU8Wj7tc32fEa9z+l+oC/r3Ufv6ccZ2eIx/DP27CAAAgKBBKAEApxWj5m6xqkqteqqTlKR6jduq3yUjdO2VA9TQm6Ufpn2q77cXqEpsjKJtFSou88jidcoV3ViDht+owd0S5CrI1M9L5+ijT2dqV2GYzhh6nYZd2EURFXnas2mxJoz7VEv2uFSrUQe1qJql1ctn6estXvUeMlg9G4dp8/KZmvPTQdXqcpbqWj1ylLtkjYhQRJh/E0PCFBkVLk9Fhdwer+/xpjab3YxTJGepShxuRVSJrRw2WEJCZOdfMwAAgKDE7RsAEOSO7/aNzZo1d51iu1+l3g0PVev9vB7lp27Q0tVbVGKNUhUzGMg9IDXopnO71dX+lUu0dm++LDabPN4Q1WndTd1a1lDu9uX6cX2anFa7LG4pon4b9e3aUlF2qST1J81ftEK29lfq4g4x8pYe0KqFX2uztZOGnd9WkebdFh63snYma9WGVJV4LPIoREktOqlb63oKs6Vq7oTliugwUOe0qlq5mY48bVq2WOsPlCs0JEJx1SOUuz9LNbpdoT5NuH0DCEbcvgEAwe1Ebt8glACAIHdcoQQAnIQIJQAguJ1IKEGDVwAAAAAAEBCEEgAAAAAAICAIJQAAAAAAQEDQpwQABDm3262UlBRFRESoevXqslqtvidWAMDJzul0KiMjQ+Hh4apduzZ/uwAgSJ1InxKEEgAAAAAA4E87kVCC2zcAAAAAAEBAEEoAAAAAAICAIJQAAAAAAAABQSgBAAAAAAACglACAAAAAAAEBE/fAIBTwMH8Io2dsUgrf94lj8fjLwWAk5d5CRoRHqZBvTtpaL9uCg2x+8cAAILNiTx9g1ACAILclIUr9dgHs+QNCZfNyjP+AQQXt8ulmDCLvnjuNjWsU8NfCgAIJicSSnD7BgAEuazcQhWVO2Sz8ScdQPCxhYQoI6dApeUV/hIAwOmEK1gAAAAAABAQhBIAAAAAACAgCCUAADjVeL1yekPUoksfffDMLZr94q2a9dJtmvzIJbq+U22FVUTrgr8N1OvX9lAzY1q3f7YT4TYWUq1GT332wnUa1rWOSiv+iqUCAIBTHaEEAACnGKfFruZDR2jK3W21ZvY09bz9VfW5+21d9cYipThtig2v0JZNmzRp+S5t8XrMm/rVoHEjnd+jjS7q0UK9W9VRzw5N1S4+QnZPvLq1b6KeLZJ0RufWuqhnK/Vr30CNYqzyHNFVtvnWbo9U/drxxvJtciXU0Bkdmqhbk7o6p3sb/a1HK/VtU0e1Qi2+aQEAAEyEEgAAnGLsXpf2TJmkuz7ZoX7X3KjMGS9o4/t3aOxNvdTA7tTBguq6YujFeuXqzgqpVluPPfOAvrq6vkpSN2tq8l5Za7TSv+4fopuaVVOEq4UeHXmp7j63nlK3bNGsNQfU95LB+uLBQersdsvpX+dRjHJ3x8567u7BurWzVxvWbdS8neG64toRmnh/R19LDgAAABOhBAAApxqLRQpxa/3Khbrk5qfV8Iqn1WHkB3pkkUV33jdCL1/QUnHlTjm8UkJ0qLomWrV+SYp+2l0md2m+tu7arnyP7ZeLBIvXo6yDB7U9zylnyQFllZTLa4ytaoz7o3jB63EpY/9+ZZS5VJxWqpx8l3HlESEeXAsAAA4hlAAA4FRj1PobdWynJx68U5u/fEI/vnyzZrxyr+Y+0FTbFi3Uy8m7VBgdqfioMKXuydC9o5ep6mVXaMGbN+q1h27UR38fpAS3Ux7fomyKDA9VeIj1lwAiNDRUUWF2Y8zRLBa7oqyhCrVZ5LXZFWlMF/bLRFaFhYUq8nABAACALF6D/z0AIAiNnrxA//xsgWJiY2kWj6O43W653J4jWjNYZLfbZPxfTodbbo9X3qhq+tuQAbohKU/jZyzRCmtTPXxlf11QLU1/f3uGZm8tMi4WjDltdl/YYHI5XXIZywoNOdyawuT1ulXh9PrWESKPyl1eWe12hfgm8sjpdBv/tSmssgCoZLGoKC9H816/V60b1/UXAgCCiRkrFBUV+YeOD6EEAAQ5QgmcKK/HI4fL/dvwwsqNFvgfIJQAgKB3IqEEX1UAAHCas1itCgsNUfgvLzuBBAAA+J8glACAIEfbCADBjoa7AHD64vYNAAhyO/Zl6s6Xxmt7er6ioqN8TaEBICh4PCosyNeQ3u31wsjLFRUR5h8BAAgmJ3L7BqEEAJwiSssrVF7hpOUEgCDhldViUVREuEJD7P4yAEAwIpQAAAAAAAABcSKhBH1KAAAAAACAgCCUAAAAAAAAAUEoAQAAAAAAAoJQAgAAAAAABAShBAAAAAAACAhCCQAAAAAAEBCEEgAAAAAAICAIJQAAAAAAQEAQSgAAAAAAgIAglAAAAAAAAAFh8Rr87wEAwGnOXZ6rjMxCKSJG8VVCVFaQq0KHTXE16yjWUqzMzCwVe+yKrhKjmCpRigiz++cEAACnKzNWKCoq8g8dH0IJAAhyDodDZWVlslgs/hLg2Mx/8sPCwhQeHu4v+bVSZezNkiLjVbt6VX+ZVJiRqjxLFdWMDzPeZ8kZk6TE2BD9f2dccXGxPB6Pfwj4Y1FRUbLZbP4hAEAwIZQAAAB/iYrCA8rIqVBEXHVVrxKi8sIcZec7FJWQqISQch3IzJbrPwwlAADA6YFQAgAA/OXMSwRa4AAAgP/PiYQSdHQJAACOiUACAAD8txFKAAAAAACAgCCUAAAAAAAAAUEoAQAAAAAAAoJQAgAAAAAABAShBAAAAAAACAhCCQAAAAAAEBCEEgAAAAAAICAIJQAAAAAAQEAQSgAAAAAAgIAglAAAAAAAAAFh8Rr87wEAQWpTSoYmfbdWm/ZkyO32+EsB4ORlXoJGRYSqZ+tGGta3s2rERfvHAACCjfk3vaioyD90fAglACDIjf96lcodTt0y6Ex/CQAEj9Jyh54YO0c3Duyplg1q+UsBAMHkREIJbt8AgCB3sKBY1WKi/EMAEFwiw0PlNi5mSyoc/hIAwOmEUAIAAAAAAAQEoQQAAAAAAAgIQgkAAE6Ex6G0NbP0r3tv0LDLLtdllw3TzY/9S7NXp6rEJVWkLdXoNz/T9mL/9H8FZ6pGP/yAHpvwkyr8Rf8vd4lmPjFAwx/8UlmHepNyZOvTu/rr9hcWqsRf5C7erleHn69/jF2jfetnafSni5XvNkY4S5SZkab8MnPAo91zXtYlt32oPf9hz1QVBSlaMO453Xfz1Ro69HJdcc3NevrDadqSWaT/dudWKVOf1NBrJyjLPwwAAE4etqcM/vcAgCC0fFOKYqMj1IoO4gJi/9IPdc8Ly/S3F97XQzderssvv0yD+p6pZrWjZbdZ5S0+qJSiWLVum6Qoi1G3z9ykWZMnaNqCtSo05j/w01LtKIlVg1qR2rFkrpZsKlTRwWTNmDxdSzdnKyaxkRKi7ZUrO8RToOSFy1VQs4POaRej1XMnaFVeiErXz9UXU7/RujSHajZsqJhQ//Qma6hqGdu05MvpKmrUR53qRChnxed69tO9Ko1JVVTS2WpVI0y7572s0euTdPfDVyuhIFXpVeqqZZU8zXj2GT03bpyWrNmm8PrtFV+wUd9u8qhF3TItmzZJ85Zvl7tKPdVPiJSxm4d5y7X84wc18s2fdf59T+rGKy71HaOhlwxSn+Yxyi3xKqZKlGzmTBU5WrtgiiZOma0V2w7KHl9XdWIP70RZ+lpNmzxZs+Yv055Cu+o2qKMIm39k0X4tmTNJE6Yv1t5Cl8qN4/zTtjzValRHjq3fad6W6vrbJe3k632lcJfmThyvibMXadtBq+o3rKvIXx1i/G/NX7VF7RonKrF6jL8EABBsHI4/1zcQLSUAADgBdXrfovEf3KWyGS/pxmGDNHDgQF1+2yOavSnfVzl3pK3S+ImLlWP1atO4f+iaV5ep0+X36uEH79CALtW15ZsvtHjzAXnlVurKrzV9WaYad7tYd9z/kK5rd1CvjbxXP+ZXruvYyrT+m0lauMurtgOu0/2jHlR/61zdcdPHv2kZENOsty7oLi2YOU/ZFZmaPHquBr/zgZ5oU03JM7/RwfJdmjL2J7Udcbs6VZHS183VJwvXyxvXRJc9MFwdmifpwpse0QWtEmT1VqjM6VC1pr01/I5RGnV9C3137436aL3Tv7ZK5ftXa9r3qTr/ljvUrbpFXkexMvemKc185RnbZAuTzeLRviXv686bX1ZB2yt0/0OP6r7rz1XJ3Kd10yOfKtNbqrn/uEx3TKvQoOvv1kMP3a8rznDq9csH673kPGUtH6Ob73lTjk7X6eGH79fwC9urcN1szftho4q9xsWOLyWxKtQ4yuvf/4dufXOluo24V0889pBu6RuqN+64W+//sO+/3mIDAAD8FqEEAAAnwF3ukK1qI118+8MaO2mm5syZoy8fP1ffPnyLPlh2QAqzy2KxyOopV3p6tmrVbaKa/oelWMJiVM1sJeB/OrfHa1N0ZBVFHfrWPixUUTaPPB7/8O/w2kIUGhNnVLorRYRHy+616DezWeN13iWXqca+xXrh8Qc0s/GNGtYhQZ0GXSDPgR/15KiH9H3M33Tr+Un+GQ5zVzh9T0hwOyu/BfF6jUp+WFVFR1c2VXDbIhRmMzb8V08aD6/eRF0ahOnHud9rv8vY59Bo1aqXpCTzZVurf9z0mlbllagg+6BKYhuqSWJI5YzWGDVslKSwrAwVFOZrb2axmjdvqnB/Mwx7bEu1TvJoe3qmCg5kKKRqohrWOjRvpKpXM47HkdtitRnHJ00/bElR5v7NmvjBO3rrnbf01uerVO+MVqoR7jH2zz8tAAD4nyGUAADgT/PKUXpAy6a9rwdvH6Grrh6hEcOv1k2vLNM5z7yr68+oKUu5Uy63S+WuCPUf9aauTPhJ91w/QjfdNkpvffCFkvfmymOz+lpVeD1mAHFEzdioVHuMsmPVlc1yj7/S7fW4jfe+t5W8v1rOESKbnadhXcK1emaJrr+6r6qahTXO1A09QrRz6V6df+fVaugPRbzGctzGcozFy1qjibrUDNMXz43U41+uVLnH3IajVmpMZ2zrr1cbXkuXP/Op3r2jsRa8+aTuuuEaDTeO03U3365HJ+Vq5Ku3qXNcFbW5ZJSevqamJjwyUrfeeKNuvevv+jyjuR5+8x9qHpOo28aMV+e0sbr3njt1y8236Z4H35Ptmvf0ysUt1XTQg3pgcII+uPdaXXvDSD3/xgeavy5FTnvlcfUdD1eFilVXI198R/ecGac9mzdo7dr12rIjTY74rjqnbV3Z/YEHAAD437F4Df73AIAg9Nqk71S/VrwuPbuDvwQnK8fur/XS1BS16dRZdap4lbFmrqb/HKFbR92lHnX9zSdw/HI2adyX8+Ss1V0dk8JUtCdZ0xbsUM8bRml4j9r+iXAyu++dqRrev4u6NK/nLwEABBMzVigqKvIPHR9CCQAIcoQSAIIdoQQABLcTCSW4fQMAAAAAAAQEoQQAAAAAAAgIbt8AgCCXnV+sx8fM1hltGmpon44KCz306AYAOLnlFJbo7a8WKyYqQvdc1kch9sqnuQAAgsuJ3L5BKAEAAAAAAP60EwkluH0DAAAAAAAEBKEEAAAAAAAICEIJAAAAAAAQEIQSAAAAAAAgIAglAAAAAABAQBBKAAAAAACAgOCRoAAQ5HILS/Toh7PVpXldXdqno8JD7f4xAHByyyko0TtTl6hGXBXddenZstv4vgwAgtGJPBKUUAIAgtxrk75TvVrxGnp2B38JAASX+96ZquH9u6hL83r+EgBAMDmRUII4GgBOARb/TwAAACCYEEoAAAAAAICAIJQAAAAAAAABQSgBAMAfcmnrpH/o3Evu14zVaSrMz9HmHz7RfTdcpefnp0klKZr4+lMat3CnnP45/gpbPx+uix6drOO5O9Oxe5puvGiI3luWVVngzdWs525UpwaD9eU2/5I8GRr/wBW64sU5Kijepy9feFT/XmDsh8o09frL9NSM9Mrp0hbq7kv/ocmb8iuH/8i+mRoy8C5N25KvkoIiFeVXvoqLK/wT/MVS5+nWi0dp1u4Sf8FfZ//Scbrvqke1IttfAAAA/qtsTxn87wEAQWj5phTFRkeoVYNa/hL8tRzKWDVfszfkKiY+VtVq11W79mfogosvVe8mVaWSPZrywWJ5W/VSr2ZxSl/6kR7751it3nNA+3du0+IvX9Tjz49X7YuukGXewxp6/791oNSlzN3rNOfjdzR6YZqadWqvGpE2//oq5fw8Xd/mtNJVfVto44eP6Za7R2uPRcreuVpTx76rD7/LUvMuxnwRh79fsMU1UWLuQr3zTYkuvKiz3Oun65NNXg3qH6LJi8p1Yf82Klo+UW/NL9B199ymNnH5mvLFxypqfo4iUxdo6rxlSi1yym5JUKOkCi1ZMEcbMgtUlr9fa76dpLdHz1JetVZqUz/m6G81Crdr8rwMnTXiIjWLDVNYeOUrNNQuT/F+zfvsFX2+cJt2b1mjuV+M1RerS9W+e2tVtXmVuugD/fOdqdqakqpNyfP1+Yz1imncSonhWZr22rMa8/0mpW3fpIWzJmreerdad2+q6MI9mv/t19qala/C/TuV/N1MjRk/SzmxLdWmXoy8Rbv05VvP65MFP2vvri36Ye7nmr54n+p36qRqYVLpnu/14jOva9GWvdq9caVmTfxc3+bHq3frJJWm/aQVq/PVZkBfJdlT9PFj9+qthflq3KalakTzZJv/lvmrtqhd40QlVo/xlwAAgo3D4fC/Oz6EEgAQ5Agl/tvsqtnxQl0/fLC6Na+t8IpcrZjxru4d9axWh52h/s28WrFwo6LanamOcSv1zN8nqf9LH+um/h3Vtl0bdWwWovXfbleLIZcqPnWxvgnpoadGXqMu7drrzI4JSv7iR7mbd1T7OtH+9VXK2ThNCw621OV9Wyp73SLtqdJLd91zpbq266AzW1fR6h9nylu3j9rWjvDPYbKpTuMErf7sQ6VUb6/cJV8rt85luu+W81Uw/hVtim+rtHkfKavZlbpxYAuFmfuyeJHc7a7U8HOaqmDBt/L0v1t3XtxY9vydmju3QP1H3qHLzuqkDt07KXLHbCVnxKhrj+aKOLJ31cLt+nL2RtVq1kwxFXnKyclVrvHKd0cqPraqoq1Obd+4TjtLItWpVyvlT54pxxmXqtHOF3XLpw79/cUn9LeeHdWxay+d17ebkmK9mvXqtZoad6tevKG/WrRsoS49e8m2frReW56oAZ3LNX9miS76x1269Kwu6tTjLA1oWao3Hp+uqt3b6ufP7tLCmHv15gOD1alTR/U461wl7Julp7/M1oU9HHrwjk/U/oF/6a5BPdWxczedfV5HZTw/StMieqpbVLpWLlqpn1dO0wufpen6l9/QrQM7Ekj8lxFKAEDw+7OhBLdvAADwR9wFWvDOs3pz0iJlOCJUvW4T9T5/iPo19ihjV6bKjUkq6+dehcR3VKeGLk2ZtliFvrIKbVmerP1e7+EnpHg8crkPvzefy235Dx6f4vW45fYcem/M57Uce75qZ+j+Gxpp4kM36ou0SA2+uL0xXW1dduuZ+vSeS/XW3jq6ZGhfVTEm9Rz1UHCvsTkulTorV+I2ttgij9zuQxvrNdZp/Pi9jbVGq2bjxmrYtImaNKt8NaoRpozlY/TMS3N1xj0v6fXH7tbF7avLbSzHY/wnsvVgdXVu0cQ5a40jZSrUuqUrtSvbrYaNGsuxfp1y7LGKj4tXbEyc2l14v964r5PCSo1ttKYqee3OX+ZbMPNrFbVrrta1q6lj+34qWvyZ5qeW+saWpa7S7MWb1PGsMxRdtbGGdinTnAmztNf88Az7F0/RDG8Lndcl0dhNp4qtSRr87Gea9UiiXrj8Ko1Jzq2cEAAA/OUsXvOBogCAoPXapO9Uv1a8Lj27g78E/w2OvDTt2ndAhaUu2SPjVK9pMyWYjRRcpUrfmy1bfC3VjA3zTVuWvUfbUw/KGxmv6iU/6rHn1+r2j19TB/c+7SkNV6PEBIWYXws4i7R3T64iayeqenSIb95Dyg7u1N6yeDWrG6/SrH3KLg9XYlKCQo35vBUF2pd5UFHV66ta1DG+wXcXa+/mNHkS6hrnRlRlIOItV8bW3SqrUkf1k2Lku1nEXa70fXvliW+opKoh8pRmaduOvXKE11CTpDjlpOcpqk6iqkWa63CrID1VBZY4JdaO01FrdeRpe0qhajSqp9iQ34YW7uID2rYrXU5ruKLjo2UrqlCV+o1Vzd/coiInVdv2ZKpMkUps1ER14/ytP1yFStm2U1nFDlnDY5TUoLFqx4QaM+QrJbVEMTXsytmXprxymxIaNFXDhKjK+UyeMu3ftUP7cysUYXw2jRrXVdQRX8V4S7O1c2eqciusiq3dSM2SYn3HyVGUrYwD5apWv658H4krXzu3pSsyqakSY47+jPDXue+dqRrev4u6NK/nLwEABBMzVigqOp6esA4jlACAIEcocXKpyNqgyR9N0JLtGXKGJahznyG66pIzFU/rf+B3EUoAQHAjlACA0xihBIBgRygBAMHtREIJ+pQAAAAAAAABQSgBAEEuvmqU8ooqO/QDgGBT7nDKapEiQ+mzAwBOR9y+AQCngHXb0zRl8TptT8uW2+N/RAMAnMyMS9CIsBB1alZPV5zbmceBAkAQO5HbNwglAAAAAADAn3YioQS3bwAAAAAAgIAglAAAAAAAAAFBKAEAAAAAAAKCUAIAAAAAAAQEoQQAAAAAAAgInr4BAKeAwuJyTVnyk5ZvSpHLzSNBAZz8zEvQqlHhurB7a/Xr0lx2G9+VAUCwOpGnbxBKAECQm/HDBu3Yn607B/dWRHiovxQAgsO+rDy9/dVi3Ta4lxolVveXAgCCyYmEEkTSABDkdqUfVMPa1QgkAASlujXi5PR4lFtU6i8BAJxOCCUAAAAAAEBAEEoAAAAAAICAIJQAAOCvUrxL0999WrffdK1G3Hyn/vnvWdqV6/KNcuTs0Ypla5RZVDn813Bq+ceP6fG5O/3D/4k8Lf73M3rwg+9V/Mum5Grhe0/plUnrVHGopylnmia9OkrPT9mgwgM79MPidcpz+8cdIXP5p3r4g6lKL/EX/AcObFigN566TzfdMEI33vWYxs7frHL/OBXt0Y+LkrW/7Ncr8xrrmqCHX5qu9OPtDctbrrWT3tK/xqw+vB4AAHBSIJQAAOAv4NowXgOGPCnboCc1eswnGv/hu3r01nMVWVEis0tpS1ikqtWpoagwW+UM7hKlbl6jFSuTtXlvvvIyt2hHutlBlFcFe3cpNSNHOWk7tHb1SiVv2Km88mM9VcWjvH1btPVAqa/inb4nVfuzcpSesllrVi3Xum1pKnH6J/1FnLr2qqe9U8dq9s5iX0nu2jma/v0MffnSR1qcYc7gVcbSqfrqh3J169JEEeFRSqhbR5GOfG1Lnqg7z+ujR8cv1RZje8vz07Q1LUP5WanatG6VVqzeqLS8Ct9yfy130Ws67/zLNcfZVfc+9brGjBuvsW8/p6u727V0zmoVGLvotUWpeq3aivbma8vM93XzdYP19Li52pVdZqwrXdt2ZCjn4D5tWrtCK9b+rPQCf7LiKtLu7bt1oPjQDntUuD9FKWl5chsfQGH6Hu3ek60D+7cqefkKrduSqhIeVAMAQMARSgAA8Bewtxumfz9ziTa8OkKXDrtCN93+gJ55Z7YyjUq2xSLlb5qrp98Zo59zpZJ1H2vooFFaG9lKPbp3VfPIdH30zD16ZtJGY0lOrR37ih587CPtC2+oTl26q27WNF078gklZ/4mYahktRt18AOa8t7Tuv+dBfLUaKXO3XrKtew1jbz3Le38Vf+Bka0v1w1dXJowfpFKnRmaO3OTEod9rPf/7tGYiUvkrNirGbOWq8GAoepdP1JZKyfowee+UlpErJp37aT6MVFq3qWXWiZWMZZmk3Zt0s6iKmrdsZt61D6gl+68Sx8vz6xc2SFFq/X86Hnqff8buqFzrJl7/PIKi2mmfgO6KMa4KnGnzNcT94/Tdks1tTy7i5JqxqpF975qnBApm8Wp7Owd2pcbrdadeqhHnXS9PHSIPt1mLKR8s1576g3N2lbgW515HDd8/obe+HiZSt0hCrGVKC1zpwpDm6hrzx5qYvlZD464XO+tMj4QAAAQMIQSAAD8JUKU2OMSPfrGeE2Z9IXGjH5Vj18ap/evvkCvrixWqM3in07anjxDlp6XamCDCN+wrXordW9z+OkpHo9btVt3VrNqdt9wlepxqh7pkMN1jPsnfuGV211Vzdu2Vs2oyuHYakmKcbvk/M0dI5Hqf/sI1dj4rl57e4J2ZoZpwPnt1enyW9Tzxzf18jsTlJxeW+cP6KkwY2qPGR4cUlHme1KCo9x/I4THJW+D1mrTIL5yONzY1pBoOSp+FaBE11SbmCj9vGGbKsc4VFRwUDl5ecrcNVejLhimSTsle0jlpYnXbDVRYqzL2GdHWeW9IR6PTfEJzdSiWVzlcExN1bCHGusyh7zG/yyyWg8dZ6tsVqtRYvLK5Y5UUp02apbgP6YtztGAVvHaOH+jjt2uAwAA/C8QSgAA8Bco2bVYbz9+u24aOUrPvPy63nr1n7rviYmKH/yobuhuVNKNmnOpUZF3ur3qeP07GmabrpH3P6fRYz/V55+M0Vc/lPmXJLnKy1RWYVT2/cNet0OlZeVyHeN2A1d5qUodZljhUUVZmcqdh4MLj7NCZWUVR4cKfpY6AzRyUKQ++GSuNPAGtTMbPdjbacj1TTRu9DzF9rtWZyVVVuA9rgqVlDrkMddvr6GkutFa+NHbmvHdeuUYG1Vebow7vLEqLy2T49cba6mr6z74Ss+1267HR96s+599RWPGfa6P/v2uXn/3a8VdfYvObmCsq8I4TiXmvhoLrJqgJLtTCz9/Vx8v2a4yh3kcnMaeHuJWRUmpHGbqEt1EF3WxaOmHr+ndsZ/pq8kfafKPa5RpTGw1/mfx5mjDmq80ZuIX+nTMB3r+wfs0395PD/39bF/wAgAAAsPiNfjfAwCC0GuTvlP9WvG69OwO/hKc7By5GzRlzDp1vONatYiWDq6foqef+lhtHp+kWztF+qcCTh/3vTNVw/t3UZfm9fwlAIBgYsYKRUVm31iHWa3HbgPh8X3LcRihBAAEOUIJAMGOUAIAgtuvQwmLxaIXX3xRq1atUkRE5e2qpaWlOvfcc3X33XfL7T7cspPbNwAAAAAAwF/GDCkeeeQRffXVV2rfvr169eqlmTNn6q677joqkDARSgBAkDPbux3uQhEAAAAIPDN8MFtMjBo1SnfccYdcLtdvbt0wEUoAQJAb0KOVvlu3Q0s37PKXAEBw8Hi9+njuClWNCFPTOgn+UgDAqcQMIo4VRhxCnxIAcIrIzi9WTmGJ8UefP+sAgkOI3apa8TGqEskzUAAgmP26T4n/nPR/Fh5uRPxy2HYAAAAASUVORK5CYII=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Cloud Kindergarte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 bwMode="gray">
          <a:xfrm>
            <a:off x="561975" y="1140156"/>
            <a:ext cx="8477250" cy="533568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de-DE" sz="1800" dirty="0" smtClean="0">
                <a:hlinkClick r:id="rId3"/>
              </a:rPr>
              <a:t>http://superuser.openstack.org/articles/cloud-kindergarten-openstack-careers/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4"/>
              </a:rPr>
              <a:t>https://cloud.telekom.de/blog/telekom-auf-dem-openstack-summit-in-barcelona/?xtmc=summitinbarcelona&amp;xtnp=1&amp;xtcr=1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5"/>
              </a:rPr>
              <a:t>https://cloud.telekom.de/blog/der-cloud-kindergarten-auf-dem-openstack-summit-in-barcelona/?xtmc=summitinbarcelona&amp;xtnp=1&amp;xtcr=2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6"/>
              </a:rPr>
              <a:t>https://www.youtube.com/watch?v=6krNErxJ0-Y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7"/>
              </a:rPr>
              <a:t>https://www.youtube.com/watch?v=2bGmgTz9emk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8"/>
              </a:rPr>
              <a:t>https://www.youtube.com/watch?v=P-Gx-rkLhi0</a:t>
            </a:r>
            <a:endParaRPr lang="de-DE" sz="1800" dirty="0" smtClean="0"/>
          </a:p>
          <a:p>
            <a:pPr algn="r"/>
            <a:endParaRPr lang="de-DE" sz="1800" dirty="0" smtClean="0"/>
          </a:p>
          <a:p>
            <a:pPr algn="r"/>
            <a:r>
              <a:rPr lang="de-DE" sz="1800" dirty="0" smtClean="0">
                <a:hlinkClick r:id="rId9"/>
              </a:rPr>
              <a:t>https://yam.telekom.de/groups/cloud-kindergarten</a:t>
            </a:r>
            <a:endParaRPr lang="de-DE" sz="1800" dirty="0" smtClean="0"/>
          </a:p>
          <a:p>
            <a:endParaRPr lang="de-DE" sz="1800" dirty="0" smtClean="0"/>
          </a:p>
          <a:p>
            <a:endParaRPr lang="de-DE" sz="1800" dirty="0" smtClean="0"/>
          </a:p>
          <a:p>
            <a:endParaRPr lang="de-DE" sz="1800" dirty="0" smtClean="0"/>
          </a:p>
          <a:p>
            <a:endParaRPr lang="de-DE" sz="1800" dirty="0" err="1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1 Vorstellung – Wir zeigen Präsenz</a:t>
            </a:r>
          </a:p>
        </p:txBody>
      </p:sp>
      <p:pic>
        <p:nvPicPr>
          <p:cNvPr id="1026" name="Picture 2" descr="\\HE100167E005.emea1.cds.t-internal.com\A48937014$\Home\Data\Präsentation\Pics\thumbs-up_graphical_25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602870" y="5966043"/>
            <a:ext cx="1019589" cy="1019589"/>
          </a:xfrm>
          <a:prstGeom prst="rect">
            <a:avLst/>
          </a:prstGeom>
          <a:noFill/>
        </p:spPr>
      </p:pic>
      <p:pic>
        <p:nvPicPr>
          <p:cNvPr id="1027" name="Picture 3" descr="\\HE100167E005.emea1.cds.t-internal.com\A48937014$\Home\Data\Präsentation\Pics\You and Me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444122" y="4946852"/>
            <a:ext cx="1991400" cy="487257"/>
          </a:xfrm>
          <a:prstGeom prst="rect">
            <a:avLst/>
          </a:prstGeom>
          <a:noFill/>
        </p:spPr>
      </p:pic>
      <p:pic>
        <p:nvPicPr>
          <p:cNvPr id="1028" name="Picture 4" descr="\\HE100167E005.emea1.cds.t-internal.com\A48937014$\Home\Data\Präsentation\Pics\YouTube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774688" y="3780794"/>
            <a:ext cx="1369446" cy="608642"/>
          </a:xfrm>
          <a:prstGeom prst="rect">
            <a:avLst/>
          </a:prstGeom>
          <a:noFill/>
        </p:spPr>
      </p:pic>
      <p:pic>
        <p:nvPicPr>
          <p:cNvPr id="1029" name="Picture 5" descr="\\HE100167E005.emea1.cds.t-internal.com\A48937014$\Home\Data\Präsentation\Pics\T_Logo_3c_p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73216" y="2429301"/>
            <a:ext cx="962025" cy="473075"/>
          </a:xfrm>
          <a:prstGeom prst="rect">
            <a:avLst/>
          </a:prstGeom>
          <a:noFill/>
        </p:spPr>
      </p:pic>
      <p:pic>
        <p:nvPicPr>
          <p:cNvPr id="1030" name="Picture 6" descr="\\HE100167E005.emea1.cds.t-internal.com\A48937014$\Home\Data\Präsentation\Pics\SuperUser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73216" y="1140156"/>
            <a:ext cx="1737353" cy="355221"/>
          </a:xfrm>
          <a:prstGeom prst="rect">
            <a:avLst/>
          </a:prstGeom>
          <a:noFill/>
        </p:spPr>
      </p:pic>
      <p:pic>
        <p:nvPicPr>
          <p:cNvPr id="1031" name="Picture 7" descr="\\HE100167E005.emea1.cds.t-internal.com\A48937014$\Home\Data\Präsentation\Pics\OpenStack_Dach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4423" y="4005071"/>
            <a:ext cx="1307768" cy="1178169"/>
          </a:xfrm>
          <a:prstGeom prst="rect">
            <a:avLst/>
          </a:prstGeom>
          <a:noFill/>
        </p:spPr>
      </p:pic>
      <p:sp>
        <p:nvSpPr>
          <p:cNvPr id="11" name="Textfeld 10"/>
          <p:cNvSpPr txBox="1"/>
          <p:nvPr/>
        </p:nvSpPr>
        <p:spPr bwMode="gray">
          <a:xfrm>
            <a:off x="3739487" y="6335214"/>
            <a:ext cx="3863383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Keep </a:t>
            </a:r>
            <a:r>
              <a:rPr lang="de-DE" sz="2400" b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up</a:t>
            </a: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b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b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us</a:t>
            </a:r>
            <a:r>
              <a:rPr lang="de-DE" sz="2400" b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on YAM !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 bwMode="gray">
          <a:xfrm>
            <a:off x="0" y="3108612"/>
            <a:ext cx="10080625" cy="996033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6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2 Workshop Ziele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0" y="4453248"/>
          <a:ext cx="10080625" cy="2278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HE100167E005.emea1.cds.t-internal.com\A48937014$\Home\Data\Präsentation\Pics\Logo_Cloud_Kindergarten_v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731955"/>
            <a:ext cx="4991100" cy="820740"/>
          </a:xfrm>
          <a:prstGeom prst="rect">
            <a:avLst/>
          </a:prstGeom>
          <a:noFill/>
        </p:spPr>
      </p:pic>
      <p:sp>
        <p:nvSpPr>
          <p:cNvPr id="3" name="Textfeld 2"/>
          <p:cNvSpPr txBox="1"/>
          <p:nvPr/>
        </p:nvSpPr>
        <p:spPr bwMode="gray">
          <a:xfrm>
            <a:off x="-1" y="3177"/>
            <a:ext cx="7515225" cy="5651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3200" dirty="0" smtClean="0">
                <a:solidFill>
                  <a:srgbClr val="E20074"/>
                </a:solidFill>
                <a:latin typeface="+mj-lt"/>
              </a:rPr>
              <a:t>02 Ziele des Workshops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-1" y="568323"/>
          <a:ext cx="10080625" cy="5777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feld 6"/>
          <p:cNvSpPr txBox="1"/>
          <p:nvPr/>
        </p:nvSpPr>
        <p:spPr bwMode="gray">
          <a:xfrm>
            <a:off x="885220" y="1481959"/>
            <a:ext cx="1596787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Deployen</a:t>
            </a:r>
          </a:p>
        </p:txBody>
      </p:sp>
      <p:sp>
        <p:nvSpPr>
          <p:cNvPr id="9" name="Textfeld 8"/>
          <p:cNvSpPr txBox="1"/>
          <p:nvPr/>
        </p:nvSpPr>
        <p:spPr bwMode="gray">
          <a:xfrm>
            <a:off x="7145936" y="1923994"/>
            <a:ext cx="2660216" cy="442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#einfachmachen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163771" y="5076497"/>
            <a:ext cx="4125674" cy="9101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de-DE" sz="2400" i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„Do </a:t>
            </a:r>
            <a:r>
              <a:rPr lang="de-DE" sz="2400" i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it</a:t>
            </a:r>
            <a:r>
              <a:rPr lang="de-DE" sz="2400" i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i="1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yourself</a:t>
            </a:r>
            <a:r>
              <a:rPr lang="de-DE" sz="2400" i="1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“ </a:t>
            </a:r>
          </a:p>
          <a:p>
            <a:pPr marL="0" indent="0" algn="ctr">
              <a:lnSpc>
                <a:spcPct val="200000"/>
              </a:lnSpc>
              <a:buNone/>
            </a:pPr>
            <a:r>
              <a:rPr lang="de-DE" sz="18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– Tim </a:t>
            </a:r>
            <a:r>
              <a:rPr lang="de-DE" sz="1800" dirty="0" err="1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Höttges</a:t>
            </a:r>
            <a:endParaRPr lang="de-DE" sz="18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heme/theme1.xml><?xml version="1.0" encoding="utf-8"?>
<a:theme xmlns:a="http://schemas.openxmlformats.org/drawingml/2006/main" name="T_MASTER_4-3_DE_20160108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_MASTER_4-3_DE_20150916" id="{E0AB48D2-9C1A-4414-B122-805F5D3F0F25}" vid="{50F50CAF-A241-4A0C-8F18-AD74C4D519C1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4-3_DE_20160108</Template>
  <TotalTime>0</TotalTime>
  <Words>395</Words>
  <Application>Microsoft Office PowerPoint</Application>
  <PresentationFormat>Benutzerdefiniert</PresentationFormat>
  <Paragraphs>151</Paragraphs>
  <Slides>22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3" baseType="lpstr">
      <vt:lpstr>T_MASTER_4-3_DE_20160108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  <vt:lpstr>Folie 17</vt:lpstr>
      <vt:lpstr>Folie 18</vt:lpstr>
      <vt:lpstr>Folie 19</vt:lpstr>
      <vt:lpstr>Folie 20</vt:lpstr>
      <vt:lpstr>Folie 21</vt:lpstr>
      <vt:lpstr>Folie 22</vt:lpstr>
    </vt:vector>
  </TitlesOfParts>
  <Manager/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5-11T11:55:56Z</dcterms:created>
  <dcterms:modified xsi:type="dcterms:W3CDTF">2017-07-05T12:14:15Z</dcterms:modified>
</cp:coreProperties>
</file>